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ink/ink1.xml" ContentType="application/inkml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ink/ink4.xml" ContentType="application/inkml+xml"/>
  <Override PartName="/ppt/ink/ink5.xml" ContentType="application/inkml+xml"/>
  <Override PartName="/ppt/tags/tag22.xml" ContentType="application/vnd.openxmlformats-officedocument.presentationml.tags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256" r:id="rId2"/>
    <p:sldId id="278" r:id="rId3"/>
    <p:sldId id="263" r:id="rId4"/>
    <p:sldId id="279" r:id="rId5"/>
    <p:sldId id="282" r:id="rId6"/>
    <p:sldId id="283" r:id="rId7"/>
    <p:sldId id="311" r:id="rId8"/>
    <p:sldId id="286" r:id="rId9"/>
    <p:sldId id="287" r:id="rId10"/>
    <p:sldId id="314" r:id="rId11"/>
    <p:sldId id="294" r:id="rId12"/>
    <p:sldId id="292" r:id="rId13"/>
    <p:sldId id="293" r:id="rId14"/>
    <p:sldId id="313" r:id="rId15"/>
    <p:sldId id="288" r:id="rId16"/>
    <p:sldId id="290" r:id="rId17"/>
    <p:sldId id="295" r:id="rId18"/>
    <p:sldId id="300" r:id="rId19"/>
    <p:sldId id="257" r:id="rId20"/>
    <p:sldId id="296" r:id="rId21"/>
    <p:sldId id="298" r:id="rId22"/>
    <p:sldId id="301" r:id="rId23"/>
    <p:sldId id="299" r:id="rId24"/>
    <p:sldId id="303" r:id="rId25"/>
    <p:sldId id="302" r:id="rId26"/>
    <p:sldId id="281" r:id="rId27"/>
    <p:sldId id="305" r:id="rId28"/>
    <p:sldId id="304" r:id="rId29"/>
    <p:sldId id="307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A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95" autoAdjust="0"/>
    <p:restoredTop sz="87551"/>
  </p:normalViewPr>
  <p:slideViewPr>
    <p:cSldViewPr snapToGrid="0" showGuides="1">
      <p:cViewPr varScale="1">
        <p:scale>
          <a:sx n="111" d="100"/>
          <a:sy n="111" d="100"/>
        </p:scale>
        <p:origin x="368" y="20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95" d="100"/>
        <a:sy n="195" d="100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4773" y="39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AF70A90-CA7E-49EB-AB17-C37FEDD0759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A7711EA-1FBE-4E98-9D43-C2D65C45D0E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8ABEA4-9216-4FDF-AAE1-D8632908A8EC}" type="datetimeFigureOut">
              <a:rPr lang="de-CH" smtClean="0"/>
              <a:t>04.05.26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CCD3C8-8930-4E0E-A891-B770724F2BD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798FB5-86BC-42DA-9D05-F96D484814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685DCD-866D-47AE-A236-118539F5337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232272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1:52:26.984"/>
    </inkml:context>
    <inkml:brush xml:id="br0">
      <inkml:brushProperty name="width" value="0.05" units="cm"/>
      <inkml:brushProperty name="height" value="0.05" units="cm"/>
      <inkml:brushProperty name="color" value="#66CC00"/>
    </inkml:brush>
  </inkml:definitions>
  <inkml:trace contextRef="#ctx0" brushRef="#br0">0 1 24575,'0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3:04:35.739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0 0 8191,'0'7'0,"0"-2"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3:08:07.580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1903 0 24575,'-87'4'0,"1"-1"0,-1 1 0,0 0 0,1-1 0,-20 3 0,-2 0 0,10 0 0,25-2 0,10 0 0,-13 5 0,41-5 0,1 1 0,0 0 0,0 0 0,1-3 0,-11 2 0,-21 3 0,4-2 0,-1 0 0,17-2 0,9 0 0,0 1 0,-1 1 0,10-1 0,0 0 0,-8 4 0,-2 1 0,0 2 0,8 0 0,11-1 0,-1 2 0,-2 3 0,4-2 0,3-1 0,2 0 0,-1 0 0,1 6 0,-1 1 0,5 1 0,1-1 0,-1 0 0,2-2 0,0-2 0,3 1 0,2 0 0,0 0 0,-1 1 0,-1-4 0,0-1 0,1-2 0,1 0 0,-1 2 0,0-1 0,0 0 0,1 2 0,1 3 0,0 1 0,0 0 0,0 4 0,0 1 0,5 3 0,2-1 0,25-2 0,5 1 0,13-1 0,4-3 0,4-4 0,37 2-760,-34-7 0,2-1 760,4-1 0,2-1 0,5 2 0,0-3 0,2-4 0,1-3 0,-2 0 0,3 0 0,10-4 0,1 0 0,-6 0 0,-2 0 0,-3 0 0,1 0 0,3 1 0,1-1 0,5-1 0,-1 1 0,-11 1 0,-1-1 0,-3 1 0,-2 0-96,-17 1 0,1 1 96,19 1 0,1-1 0,-20 2 0,0 0 0,15-1 0,-3-1 0,5-1 0,-9-3 0,-7 0 0,-8 1 0,-10 0 1504,-5-2-1504,8-2 208,7-3-208,3 1 0,-3 0 0,-5 0 0,-3 2 0,-2 1 0,-4 2 0,-1 1 0,3 0 0,6 0 0,0-1 0,-3 1 0,-12 2 0,-5 1 0,-1 2 0,1 0 0,2 0 0,-1 0 0,-4-2 0,0 0 0,2 0 0,-3 1 0,-2 1 0,-2-2 0,-1 1 0,9-1 0,4 0 0,10 2 0,1 0 0,6 0 0,-2 0 0,-1 0 0,-7 0 0,-5 0 0,-6 1 0,-1 1 0,-8 0 0,-2 0 0,-6-1 0,-1-1 0,1 0 0,-1 0 0,0 0 0,1 0 0,-1 0 0,3-2 0,3-2 0,2-4 0,0-1 0,4-5 0,1-2 0,9-7 0,2-1 0,-1-1 0,-6 5 0,-7 7 0,-3 4 0,-4 4 0,-3 3 0,-3 2 0,1-2 0,0 1 0,0 0 0,0-1 0,-1-1 0,0-2 0,-3-1 0,-3-1 0,-6-5 0,-4-2 0,-4-4 0,-3-2 0,-4 1 0,-3-2 0,-5 3 0,1 0 0,-2 3 0,-8 2 0,-12 2 0,-13 3 0,-12 0 0,24 4 0,4 0 0,5 4 0,-3 0 0,-4 0 0,8 0 0,9 0 0,-1-1 0,-5-2 0,4 1 0,4-1 0,-1 0 0,-3 0 0,-9 0 0,-4 0 0,4 3 0,-2 0 0,-13 0 0,-2 0 0,-10 0 0,11 0 0,4 0 0,6-1 0,-2-2 0,11 0 0,5 1 0,6 2 0,3 0 0,0 0 0,2 0 0,1 0 0,3 0 0,2 0 0,-3 1 0,0 1 0,5 1 0,1-1 0,-1 0 0,-3 0 0,-9 1 0,3-1 0,6-1 0,2 1 0,1-1 0,0-1 0,-1 0 0,7 0 0,3 0 0,1 0 0,0 0 0,1 0 0,2 0 0,1-1 0,2-1 0,0 0 0,3 0 0,1 1 0,0 0 0,1 0 0,-1 1 0,1 0 0,-3 0 0,0 0 0,-2 0 0,-3 0 0,-7-2 0,-2 0 0,-8-3 0,0 1 0,2 1 0,1 0 0,-1 1 0,4-1 0,1-1 0,9 3 0,6 0 0,1 0 0,0 1 0,1 0 0,-1 0 0,3 0 0,0-2 0,-1 0 0,1-1 0,-6-2 0,-1-1 0,-4-1 0,3 1 0,2 2 0,0 0 0,-1 0 0,1 0 0,0 0 0,3 2 0,2 0 0,0 1 0,0 0 0,0 0 0,0 0 0,1 0 0,0-1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3:10:06.888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1 5425 24575,'26'-3'0,"35"-8"0,16-6 0,21-7 0,-14 1 0,-5 0 0,24-8-901,15-4 901,-50 12 0,3-1 0,6-1 0,6-4-1340,3-3 0,9-3 0,1-1 1340,6-1 0,3-1 0,5 0-892,-11 4 0,5-1 0,2-1 0,-4 2 892,-8 2 0,-2 0 0,-1 0 0,-1 1 0,25-10 0,-1-1 0,-4 1-737,-9 0 0,-3 1 0,-1-2 737,-2-1 0,0-2 0,-1 0 0,-1-1 0,0 0 0,-1-1 0,0 0 0,-2 0 0,-2 1 0,-8 1 0,-4 1 0,0-1-313,2-1 1,-1 0 0,-4 1 312,15-15 0,-5 0 0,4-2 0,-3 0 0,-13 3 0,-2 0 0,4-3 0,4-4 0,-14 12 0,4-3 0,-3 2 0,-9 9 0,-2 2 0,0 1 0,22-17 0,-6 5 876,-21 13 1,-6 3-877,17-24 0,-20 16 0,2-4 0,7-7 0,-4 0 0,-14 12 0,-4 2 0,-2 3 0,-3 3 3153,4-17-3153,-4 3 3108,0-5-3108,-5 7 2644,-5 8-2644,-1 5 979,1-1-979,-3 0 0,-1-2 0,-1 7 0,1 1 0,5-10 0,0-3 0,-4-6 0,-1 1 0,1-7 0,4-7 0,5-13 0,-3 13 0,-1 6 0,-6 17 0,-3 1 0,0 3 0,1 2 0,4 11 0,-2 3 0,-3 5 0,1 1 0,0 2 0,-1 1 0,0 2 0,-3-2 0,-1 0 0,0-5 0,0 0 0,0-4 0,0-4 0,0-9 0,0-3 0,0-9 0,0 0 0,0-5 0,0 3 0,0 0 0,0 9 0,0 3 0,0 11 0,0 1 0,0-5 0,0 1 0,0-2 0,0 1 0,0-1 0,0 1 0,0 0 0,0 6 0,0 1 0,0 4 0,0 1 0,0 3 0,0-1 0,0-7 0,0-1 0,0-4 0,0 5 0,0 4 0,0 7 0,0 3 0,0 2 0,0-1 0,0 2 0,0 1 0,0 2 0,0 0 0,0 1 0,0-4 0,0 2 0,0 0 0,0-2 0,0 2 0,0-2 0,0-1 0,0-1 0,0 0 0,0 2 0,3 3 0,0 2 0,2-2 0,1 0 0,-5 0 0,-3 0 0,-9 2 0,-4 0 0,-8 0 0,-3 1 0,-3 4 0,-1 1 0,-8 7 0,-2 3 0,-11 7 0,6-1 0,7 1 0,1-1 0,-2 2 0,-3 6 0,-3 4 0,9 1 0,0-1 0,-16 0 0,-2-3 0,-8-5 0,11-3 0,14-7 0,7-1 0,4 0 0,0-1 0,1-1 0,-2 1 0,0 0 0,8-3 0,4-2 0,13-7 0,-1 0 0,-1 1 0,-1 0 0,-1 0 0,2-1 0,1 0 0,2-2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3:10:09.205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0 0 24575,'9'0'0,"-1"0"0,-2 0 0,0 0 0,0 0 0,7 3 0,1 0 0,11 6 0,-2-1 0,-3-1 0,-2 0 0,-7-2 0,6 1 0,6 2 0,-2-2 0,-1 1 0,-10-3 0,-4 0 0,3-1 0,1 0 0,1 1 0,-1 0 0,1 3 0,2 1 0,4 2 0,4 0 0,2 1 0,-2-2 0,-1 0 0,-8-1 0,0-1 0,-3-2 0,-1 0 0,2 1 0,0-1 0,0 2 0,-2-1 0,-2 0 0,-1 0 0,1 0 0,0 0 0,0 0 0,0 1 0,-1-2 0,0-2 0,-1 0 0,2 0 0,0 1 0,0-1 0,-3-1 0,6 4 0,3 1 0,7 1 0,7 1 0,-5-2 0,-1-1 0,-12-1 0,-1-2 0,-4-1 0,1 0 0,1 0 0,0-1 0,0-1 0,-1 0 0,-1-1 0,-2-5 0,-1 0 0,0-1 0,0 3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1:52:26.984"/>
    </inkml:context>
    <inkml:brush xml:id="br0">
      <inkml:brushProperty name="width" value="0.05" units="cm"/>
      <inkml:brushProperty name="height" value="0.05" units="cm"/>
      <inkml:brushProperty name="color" value="#66CC00"/>
    </inkml:brush>
  </inkml:definitions>
  <inkml:trace contextRef="#ctx0" brushRef="#br0">0 1 24575,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1:52:36.704"/>
    </inkml:context>
    <inkml:brush xml:id="br0">
      <inkml:brushProperty name="width" value="0.05" units="cm"/>
      <inkml:brushProperty name="height" value="0.05" units="cm"/>
      <inkml:brushProperty name="color" value="#66CC00"/>
    </inkml:brush>
  </inkml:definitions>
  <inkml:trace contextRef="#ctx0" brushRef="#br0">4976 524 24575,'-38'0'0,"-8"0"0,-35 0 0,-17 2-1117,36 1 1,-2-1 1116,5 1 0,1 1 0,1 0 0,1 0 112,-42 3-112,-2 0 0,3-3 0,43-1 0,0-2-275,-8-1 1,-1 0 274,-1 0 0,-2 0 0,-15 0 0,-1 0 0,13 0 0,2 0 0,8 0 0,2 0-139,-36 0 139,12 0 0,7 0 0,-2 0 0,25 0 0,-1 0 0,-48 0 0,45 0 0,1 0 0,-38 0 0,28 0 0,-6 0 0,-7 0 0,-2 0 0,-6 0 0,16 2 1050,4 0-1050,4 3 460,-1 1-460,-8 3 0,-5 1 0,-6 0 0,8-1 1139,4-3-1139,10 1 160,4 2-160,10-2 0,6 0 0,7 0 0,0 0 0,-2 0 0,-4 1 0,2 0 0,2 0 0,-3 4 0,4-3 0,3 0 0,1-2 0,3-1 0,3 0 0,0-1 0,-17 3 0,-1 1 0,-15 6 0,4-1 0,2 0 0,2-1 0,5-3 0,4-1 0,1 1 0,0-1 0,-3 2 0,0-3 0,3-1 0,3-1 0,2 1 0,-3 3 0,3-2 0,7-1 0,6-3 0,7-1 0,0-1 0,-1 1 0,-2 2 0,0 1 0,0 1 0,1 0 0,1 4 0,1 0 0,-1 7 0,2-1 0,3 2 0,1 0 0,3 4 0,0 4 0,0 5 0,0 1 0,0 1 0,3-7 0,0-3 0,2-5 0,0-4 0,1-2 0,2-3 0,2-2 0,15 0 0,13 2 0,34 0 0,12 1 0,-22-8 0,2-1-800,3 0 0,3 0 800,17-2 0,3 0-1254,6 0 0,3 0 1254,-22 0 0,1 0 0,-1 0 0,-2-1 0,0 0 0,0-1 0,3-1 0,2-1 0,-2 0 0,-3 0 0,-1-2 0,0 0 0,2-1 0,1 0 0,0 0 0,-1 0 0,1-1 0,0 1 0,-1 0 0,-1 0 0,1 0 0,-3 0 0,1 0 0,-1 0 0,2 0 0,-1 0 0,4 1 0,13 0 0,4 0 0,-1 1-832,-1-1 0,0 0 1,-1 1 831,-7 2 0,0-1 0,-4 1 0,18-1 0,-8 0-226,-32 3 0,-3-1 226,47 1 0,-47 1 0,0 0 0,47 2 0,-2 2 0,-21 3 0,-2 2 0,15 5 0,1 0 0,-8-2 0,0 2 1138,-35-3-1138,12 4 2231,-4-2-2231,1 1 3019,2-2-3019,5 1 667,-2-1-667,-2-1 0,9 2 0,12-2-622,-19-7 1,4-1 621,-2 0 0,-1 0 0,2-2 0,0 1-352,-7-1 1,-2 0 351,0 1 0,-1-1 0,6-2 0,1 0 0,6-1 0,0-1 0,-5 0 0,-1-1 0,2 0 0,1 0-867,13-1 0,2 1 867,3-1 0,4 0 0,9-1 0,1 1 0,-8 0 0,0 0 0,0 1 0,-1-1 0,-2 0 0,0 0 0,3 0 0,2 1-850,-22 1 1,2 1 0,1 0 849,5 0 0,-1 1 0,0-1 0,26 0 0,-2 0-310,1 0 1,-2 0 309,-18 0 0,-3 0 0,-1 0 0,-1 1-57,-3 3 1,-2 2 56,-8-1 0,-5 2 1353,27 7-1353,2 2 0,-1 3 1993,8 6-1993,-37-9 0,0 0 0,31 8 1831,-4-1-1831,-15-5 871,-9-2-871,4-2 56,-3-1-56,-3-2 775,2-1-775,9 2 81,-7-4-81,-2-2 0,-7-5 0,-6-2 0,51-8-230,-45 4 0,0 0 230,40-5 0,-14 0 0,-32 0 0,2 0 0,6-1 0,-1 0 0,4 0 460,-5-1-460,-1-1 0,-28 8 0,-10 3 0,11-2 0,4-1 0,15-4 0,-5 1 0,-6 3 0,-5 2 0,-5 1 0,8 1 0,9 1 0,16-3 0,15-4 0,-15 2 0,0 0 0,-20 6 0,-3 1 0,3 0 0,-6 0 0,-8 0 0,-6 0 0,-7 0 0,-3 0 0,-1 0 0,6 0 0,1 0 0,1 0 0,0 0 0,-4 2 0,0-1 0,2 2 0,0 0 0,3 0 0,3 1 0,3 0 0,32 2 0,21 1 0,19-3 0,3 1 0,-43-4 0,-9-1 0,-10 1 0,-1-1 0,0 0 0,-14 0 0,-15-2 0,0 0 0,2-11 0,1-3 0,1-9 0,0-1 0,2-6 0,4-9 0,6-22 0,4-2 0,5-5 0,-5 25 0,-3 14 0,-4 12 0,-2 2 0,-4 6 0,-1 3 0,-5 6 0,0 0 0,1 0 0,1 1 0,0-2 0,1 1 0,-2 0 0,0 1 0,-2 1 0,0 0 0,1-1 0,0-1 0,0 0 0,-1 0 0,0 1 0,0-3 0,-1-3 0,-3-3 0,-1-4 0,-17-15 0,-7-7 0,-29-25 0,-6-1-761,12 22 0,-5 1 761,0 2 0,-2 2 0,-12-1 0,-1 2 0,10 6 0,3 2-269,10 7 0,1 2 269,-6 1 0,-1 3 0,-9-1 0,-1 1 0,7 3 0,0 0 0,-1 1 0,2 0 0,-22 5-74,4 2 74,-4 2 0,-17-1-691,33-2 1,-3 0 690,0 0 0,-1 0 0,-11 0 0,0 0 0,9 2 0,2 0 0,1 1 0,0 0 206,0 0 1,0 0-207,-3 0 0,3 0 0,13 0 0,3 0-75,-50 0 75,43 0 0,-3 0 0,-2-1 0,-2-1 0,-8-3 0,-1-1 0,9-1 0,1-1 0,7-2 0,0-2 0,-4 1 0,-2 1-471,-10-2 1,-1 2 470,8 1 0,1 2 0,1 0 0,3 1 1163,-28-5-1163,6 1 0,26 4 0,0 0 0,-26-2 0,30 5 0,-2 1 0,3 2 0,0 0 0,-49 0 0,47 0 0,2 0 0,-29 0 0,13 0 0,-33 7 172,38-2 0,1 0-172,-30 6 592,10-1-592,21-1 0,-5 1 0,-26 5 0,-5-2 269,43-7 0,0-1-269,-38 4 0,4-2 0,0-1 0,-7 1 0,-3 3 0,2 0 0,18-1 157,3 0-157,-2-3 658,11 0-658,11-1 11,7 0-11,1 0 628,-8 1-628,-5 0 27,14-2-27,5 1 0,7 1 0,2 1 0,-7 2 0,4 1 0,8-1 0,0 2 0,1 1 0,2 0 0,-1 2 0,7-3 0,3-1 0,0-1 0,1-2 0,-5 5 0,0-1 0,0 1 0,1-2 0,2 1 0,0-2 0,-3 1 0,0-1 0,0 0 0,3 0 0,2-2 0,3-2 0,1 0 0,4-2 0,1 1 0,1-1 0,1 0 0,-1-1 0,1-1 0,-1 4 0,-1 2 0,-7 6 0,-2 3 0,-3 3 0,2-2 0,2-1 0,0 0 0,0 0 0,3-2 0,2-3 0,2-4 0,2-2 0,0 1 0,0-1 0,1-3 0,1 0 0,0-1 0,0-1 0,0 2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2:34:54.091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1766 1 24575,'-61'77'0,"0"1"0,1 0 0,-1 0 0,0 0 0,1-1 0,-1 1 0,0 0 0,1 0 0,-1-1 0,0 1 0,1 0 0,-1 0 0,4 3 0,14-15 0,1 0 0,-15 17 0,11-20 0,-12 13 0,-9 10 0,-7 7 0,-3 4 0,-2 3 0,1-1 0,4-3 0,7-6 0,8-8 0,11-11 0,15-14 0,15-15 0,28 20 0,7-14 0,-3-28 0,0-2 0,-4 1 0,6 0 0,12 2 0,4-5 0,11-5 0,-3-2 0,0 2 0,16-5 0,13-2 0,10-3 0,8-1-465,-31 0 0,0 0 465,-2 0 0,2 0 0,13 0 0,0 0 0,-10 0 0,-4 0 0,36 0 0,-19 2 0,-22 3 0,-1 0 0,3-1 0,-16-1 930,-4-1-930,-13-1 0,-1 1 0,0 1 0,1 1 0,1 3 0,-1 0 0,1 1 0,0-1 0,0 0 0,6 2 0,2 0 0,-3-4 0,1-1 0,8-4 0,8 0 0,14 0 0,-1 0 0,6 0 0,-5 0 0,2 0 0,10 0 0,5 0 0,4 0 0,3 0 0,-6 0 0,-4 0 0,-7 0 0,-7 0 0,-4 0 0,-3 4 0,-3 5 0,-7 5 0,-2 5 0,10 1 0,6 4 0,7 0 0,-2-1 0,-2-1 0,-1-2 0,1-2 0,-2-4 0,2-3 0,-9-1 0,-3-1 0,-7-3 0,-1-2 0,-7-4 0,-1 0 0,-4 0 0,-5 0 0,-3 0 0,2 0 0,4-3 0,14-4 0,11-3 0,12-3 0,-1 1 0,2 0 0,-23 5 0,-5 3 0,7 4 0,-1 0 0,5 0 0,-4 2 0,-10 4 0,1 4 0,4 3 0,-2-1 0,2 0 0,6-5 0,0-2 0,-10-2 0,-4 1 0,-3 4 0,-3-2 0,-3-2 0,-7-2 0,-5-2 0,-1 2 0,0 2 0,1-1 0,1 0 0,-4-1 0,0 2 0,-2 2 0,0 1 0,2-1 0,2 0 0,1 0 0,1 0 0,-3 0 0,-1-2 0,-2-1 0,0 1 0,0-1 0,0 0 0,0-2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2:34:57.308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2370 1 24575,'25'26'0,"21"34"0,-1-6 0,8 7-1433,-9-10 0,3 4 0,2-2 1433,1-1 0,2-2 0,0 1-572,2 0 1,0 1-1,-2 0 572,-6 1 0,-2 1 0,-2 0 0,18 22 0,-5 3 0,-21-19 0,-3 2 0,-1-1 0,11 24 0,-4 0-108,-6 0 1,-3-1 107,-3-7 0,-1-1 0,-3 0 0,-2-1-206,-4-17 0,-1-2 206,-1-5 0,-2-2 0,3 40 1730,-4-8-1730,-9-17 2392,-1-4-2392,0-18 1926,-1 5-1926,-5 8 0,-17 2 0,-32 12-92,-13 0 92,27-32 0,-1 0 0,-25 24 0,7-8 0,15-12 0,1-3 0,25-18 0,0 2 0,15-15 685,-1 1-685,-2-2 0,-3-5 0,-7 0 0,-7-1 0,-9 0 0,-5 0 0,-3 0 0,-2 0 0,-19 0 0,-4 0 0,-17 0 0,13 1 0,10 4 0,15 1 0,7 2 0,8-1 0,6 0 0,13-3 0,0-2 0,9-2 0,-1 3 0,1 2 0,0-2 0,-1 1 0,-8 0 0,0 1 0,1-1 0,0 2 0,1 3 0,0 0 0,-3 2 0,5-3 0,2-5 0,0-1 0,0-2 0,0 1 0,-1 2 0,1 1 0,2 1 0,0-1 0,0-2 0,0-1 0,-6-1 0,-3 0 0,-8 0 0,-6 0 0,-63 0 0,-6 0-401,32 0 1,-1 0 400,9 0 0,3 0 0,-22 0 0,8 0 0,12 0 0,11 0 0,6 0 0,15 0 0,7 0 801,11 0-801,2 0 0,1 0 0,-2 0 0,0 0 0,-1 0 0,0 0 0,1 0 0,-22 0 0,-3 0 0,-17 4 0,0 0 0,-5 1 0,-3 1 0,-6-1 0,10 0 0,7 1 0,13-4 0,5-2 0,12 0 0,2 0 0,7 0 0,0 0 0,-2 0 0,2 0 0,-3 0 0,-8 0 0,-6 0 0,-19 0 0,-14 0 0,-29 0 0,-7 0-1003,12 0 0,-4 0 1003,5 0 0,2 0 0,9 0 0,4 0 0,-36 0 0,63 0 0,1 0 0,-5 0 0,16 0 0,6 0 501,9 0 1,5 0-1,0 0 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3:02:33.197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0 0 8191,'0'7'0,"0"-2"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3:04:17.055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1 1 24575,'0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3:04:23.722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0 6 8191,'3'-3'0,"0"1"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4-22T13:04:31.314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6 7 8191,'-3'-3'0,"1"0"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78A90D-FE7E-41AF-B03D-808D82937CB9}" type="datetimeFigureOut">
              <a:rPr lang="de-CH" smtClean="0"/>
              <a:t>04.05.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15DDFD-030C-4D5A-B33E-3A7E7538D2BE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149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GB" sz="1800" dirty="0"/>
              <a:t>Earth’s current ATM is thought to first originate from MO outgassing</a:t>
            </a:r>
          </a:p>
          <a:p>
            <a:pPr marL="285750" indent="-285750">
              <a:buFontTx/>
              <a:buChar char="-"/>
            </a:pPr>
            <a:r>
              <a:rPr lang="en-GB" sz="1800" dirty="0"/>
              <a:t>Current understanding of this coupling is done by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483612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352817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- Central idea ---- 2 models connected by chemical equilibr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97570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- … by arguing volatile transport in MO is a slow proc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55091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dirty="0"/>
              <a:t>We study this topic further</a:t>
            </a:r>
          </a:p>
          <a:p>
            <a:pPr marL="171450" indent="-171450">
              <a:buFontTx/>
              <a:buChar char="-"/>
            </a:pPr>
            <a:r>
              <a:rPr lang="en-GB" dirty="0"/>
              <a:t>Must view at 2 regions:</a:t>
            </a:r>
          </a:p>
          <a:p>
            <a:pPr marL="628650" lvl="1" indent="-171450">
              <a:buFontTx/>
              <a:buChar char="-"/>
            </a:pPr>
            <a:r>
              <a:rPr lang="en-GB" dirty="0"/>
              <a:t>Bulk: turbulent =&gt; fast</a:t>
            </a:r>
          </a:p>
          <a:p>
            <a:pPr marL="628650" lvl="1" indent="-171450">
              <a:buFontTx/>
              <a:buChar char="-"/>
            </a:pPr>
            <a:r>
              <a:rPr lang="en-GB" dirty="0"/>
              <a:t>BL (=thin layers close to the wall where the fluid “feels: the wall): No much vertical velocity to help with vertical transport &amp; must rely on diffusion =&gt; slow</a:t>
            </a:r>
          </a:p>
          <a:p>
            <a:pPr marL="628650" lvl="1" indent="-171450">
              <a:buFontTx/>
              <a:buChar char="-"/>
            </a:pPr>
            <a:r>
              <a:rPr lang="en-GB" dirty="0"/>
              <a:t>BUT this type of BLs are not relevant for MO =&gt; overall fast</a:t>
            </a:r>
          </a:p>
          <a:p>
            <a:pPr marL="171450" lvl="0" indent="-171450">
              <a:buFontTx/>
              <a:buChar char="-"/>
            </a:pPr>
            <a:r>
              <a:rPr lang="en-GB" dirty="0"/>
              <a:t>=&gt; Chemical equilibrium is a good approxi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33648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951002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=&gt; To some extent, volatile transport in MO can be regarded as a passive scalar diffusion process, which may be described by a simple advection-diffusion process (or may be tracked by </a:t>
            </a:r>
            <a:r>
              <a:rPr lang="en-US" dirty="0" err="1"/>
              <a:t>Lagrangian</a:t>
            </a:r>
            <a:r>
              <a:rPr lang="en-US" dirty="0"/>
              <a:t> tracers as in S23 &amp; W25 models, but there are problems, see below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3428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\Phi = Total remaining amoun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818999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4172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672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B061823-3F7A-48C8-8477-B410C18AC1B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5580000" tIns="0" rIns="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3538"/>
            <a:ext cx="5904000" cy="3312000"/>
          </a:xfrm>
          <a:solidFill>
            <a:schemeClr val="accent1"/>
          </a:solidFill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3C296D1-2CD0-479F-A866-6EC741D2293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1BE31-9613-4103-99FF-7DCFF643B3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860494"/>
            <a:ext cx="4680000" cy="1440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DEB298C-798E-4D73-9DD6-F896C06530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4293381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  <p15:guide id="3" orient="horz" pos="640" userDrawn="1">
          <p15:clr>
            <a:srgbClr val="FBAE40"/>
          </p15:clr>
        </p15:guide>
        <p15:guide id="4" orient="horz" pos="3952" userDrawn="1">
          <p15:clr>
            <a:srgbClr val="FBAE40"/>
          </p15:clr>
        </p15:guide>
        <p15:guide id="5" pos="610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206A-A7FF-4A2F-A4EA-EDA7D9956B8C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5941150-30DE-48F5-9038-0E82CD18D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7" y="1412874"/>
            <a:ext cx="10728000" cy="4860000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943852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2B7ECC-AD5B-4AE2-A84F-7ABFC0424E3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5941150-30DE-48F5-9038-0E82CD18D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7" y="260350"/>
            <a:ext cx="10728000" cy="6012524"/>
          </a:xfrm>
        </p:spPr>
        <p:txBody>
          <a:bodyPr tIns="21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8420483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4163" y="1412875"/>
            <a:ext cx="5256000" cy="4860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A21818-B1F9-4DD3-88F2-43FBC3C9BAF5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040000" cy="4860000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996394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5121800"/>
            <a:ext cx="5255999" cy="115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70A20D-9FD8-4251-A734-1127FF21ADB2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1AAB6914-2518-430D-BF4C-14EA51B614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4162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5092EEFB-079B-4C38-A665-E52B9837601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04162" y="5121800"/>
            <a:ext cx="5256001" cy="115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085750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4166439"/>
            <a:ext cx="10728327" cy="21244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5F4EA9-B322-4AC6-9ED4-333F1AAC8416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36793346-BF6B-42A8-ADE0-3AA3DC3B239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0162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4" name="Bildplatzhalter 10">
            <a:extLst>
              <a:ext uri="{FF2B5EF4-FFF2-40B4-BE49-F238E27FC236}">
                <a16:creationId xmlns:a16="http://schemas.microsoft.com/office/drawing/2014/main" id="{FE637F68-618E-43EB-B240-4BFA26852F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85999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252988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412875"/>
            <a:ext cx="10728325" cy="396000"/>
          </a:xfrm>
        </p:spPr>
        <p:txBody>
          <a:bodyPr/>
          <a:lstStyle>
            <a:lvl1pPr marL="0" indent="0">
              <a:buNone/>
              <a:defRPr b="1"/>
            </a:lvl1pPr>
            <a:lvl2pPr marL="266700" indent="0">
              <a:buNone/>
              <a:defRPr b="1"/>
            </a:lvl2pPr>
            <a:lvl3pPr marL="538163" indent="0">
              <a:buNone/>
              <a:defRPr b="1"/>
            </a:lvl3pPr>
            <a:lvl4pPr marL="804862" indent="0">
              <a:buNone/>
              <a:defRPr b="1"/>
            </a:lvl4pPr>
            <a:lvl5pPr marL="1076325" indent="0">
              <a:buNone/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59B2A-9722-4479-8974-FDB801910172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A1D947E6-CC00-458E-BDE1-B0877E30333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731838" y="2061398"/>
            <a:ext cx="10728325" cy="4212401"/>
          </a:xfrm>
        </p:spPr>
        <p:txBody>
          <a:bodyPr tIns="1260000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 noProof="0"/>
              <a:t>Click icon to add tabl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928661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394B20FF-3667-40DF-92A1-C6CF3BBCA2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2135492"/>
            <a:ext cx="10728325" cy="39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266700" indent="0">
              <a:buNone/>
              <a:defRPr>
                <a:solidFill>
                  <a:schemeClr val="bg1"/>
                </a:solidFill>
              </a:defRPr>
            </a:lvl2pPr>
            <a:lvl3pPr marL="540000" indent="0">
              <a:buNone/>
              <a:defRPr>
                <a:solidFill>
                  <a:schemeClr val="bg1"/>
                </a:solidFill>
              </a:defRPr>
            </a:lvl3pPr>
            <a:lvl4pPr marL="808537" indent="0">
              <a:buNone/>
              <a:defRPr>
                <a:solidFill>
                  <a:schemeClr val="bg1"/>
                </a:solidFill>
              </a:defRPr>
            </a:lvl4pPr>
            <a:lvl5pPr marL="108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794484F1-3B7F-46CE-AD0B-2310A557A9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F900572E-A73E-42BE-96FA-38ADC4E79F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670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98">
          <p15:clr>
            <a:srgbClr val="FBAE40"/>
          </p15:clr>
        </p15:guide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A01615F-450E-43D0-B554-DA3FBD48DF3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0" tIns="0" rIns="558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4000" y="2957494"/>
            <a:ext cx="5688000" cy="2268000"/>
          </a:xfrm>
          <a:solidFill>
            <a:schemeClr val="accent6"/>
          </a:solidFill>
        </p:spPr>
        <p:txBody>
          <a:bodyPr lIns="324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03A487C-8977-4264-A8A1-D6C1DB6046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45210" y="4639666"/>
            <a:ext cx="4320000" cy="46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E91D3734-CD8F-4F94-A813-570EF31C47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47D2927-4A99-4714-8EBA-F773EAA263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100241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2D94F76-218E-49F2-87F8-05982912ED18}"/>
              </a:ext>
            </a:extLst>
          </p:cNvPr>
          <p:cNvSpPr/>
          <p:nvPr userDrawn="1"/>
        </p:nvSpPr>
        <p:spPr>
          <a:xfrm>
            <a:off x="731838" y="1016000"/>
            <a:ext cx="10728325" cy="5257800"/>
          </a:xfrm>
          <a:prstGeom prst="rect">
            <a:avLst/>
          </a:prstGeom>
          <a:solidFill>
            <a:srgbClr val="8E67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1940405"/>
            <a:ext cx="10188000" cy="3960000"/>
          </a:xfrm>
          <a:solidFill>
            <a:schemeClr val="accent3"/>
          </a:solidFill>
          <a:ln>
            <a:noFill/>
          </a:ln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id="{0503E57F-F89F-431B-8D38-7CC97B7C2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4217884"/>
            <a:ext cx="8640000" cy="1440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1BEB6197-C509-4752-B57E-CEE955F5D92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ADF7DEC-21BD-45CA-9E91-B9F58A69F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3924069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837" y="1016000"/>
            <a:ext cx="10728326" cy="5256000"/>
          </a:xfrm>
          <a:solidFill>
            <a:schemeClr val="accent6"/>
          </a:solidFill>
          <a:ln>
            <a:noFill/>
          </a:ln>
        </p:spPr>
        <p:txBody>
          <a:bodyPr lIns="324000" tIns="11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6" name="Textplatzhalter 3">
            <a:extLst>
              <a:ext uri="{FF2B5EF4-FFF2-40B4-BE49-F238E27FC236}">
                <a16:creationId xmlns:a16="http://schemas.microsoft.com/office/drawing/2014/main" id="{5FCAD79B-EF47-46A0-9575-229F3DAA7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5" y="4575276"/>
            <a:ext cx="10044000" cy="1440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72236FC6-C8FF-43C1-86B9-BF11234592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789A3267-E086-4EC3-A0BB-F8ECD01A5C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732532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4 – Uni Zür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B061823-3F7A-48C8-8477-B410C18AC1B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5580000" tIns="0" rIns="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3538"/>
            <a:ext cx="5904000" cy="3312000"/>
          </a:xfrm>
          <a:solidFill>
            <a:schemeClr val="accent2"/>
          </a:solidFill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93E2EDD-B19F-478D-BB03-AD55EC1E86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7672" y="228020"/>
            <a:ext cx="3679200" cy="552508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364BCB8-820F-4C3A-BA37-7048A4C8D4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860495"/>
            <a:ext cx="4680000" cy="1440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A73913C2-8DFE-4F15-B2DB-2A6D5C26700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791A1AD7-DB7D-4C75-BEFB-EB6D34D3B2A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seinheit verbal</a:t>
            </a:r>
            <a:br>
              <a:rPr lang="de-DE" dirty="0"/>
            </a:br>
            <a:r>
              <a:rPr lang="de-DE" dirty="0"/>
              <a:t>optional auf 2 Zeilen</a:t>
            </a:r>
          </a:p>
        </p:txBody>
      </p:sp>
    </p:spTree>
    <p:extLst>
      <p:ext uri="{BB962C8B-B14F-4D97-AF65-F5344CB8AC3E}">
        <p14:creationId xmlns:p14="http://schemas.microsoft.com/office/powerpoint/2010/main" val="2789257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39750" indent="-539750">
              <a:buFont typeface="+mj-lt"/>
              <a:buAutoNum type="arabicPeriod"/>
              <a:defRPr/>
            </a:lvl1pPr>
            <a:lvl2pPr marL="1079500" indent="-539750">
              <a:buFont typeface="+mj-lt"/>
              <a:buAutoNum type="arabicPeriod"/>
              <a:defRPr/>
            </a:lvl2pPr>
            <a:lvl3pPr marL="1612900" indent="-533400">
              <a:buFont typeface="+mj-lt"/>
              <a:buAutoNum type="arabicPeriod"/>
              <a:defRPr/>
            </a:lvl3pPr>
            <a:lvl4pPr marL="2152650" indent="-539750">
              <a:buFont typeface="+mj-lt"/>
              <a:buAutoNum type="arabicPeriod"/>
              <a:defRPr/>
            </a:lvl4pPr>
            <a:lvl5pPr marL="2692400" indent="-539750">
              <a:buFont typeface="+mj-lt"/>
              <a:buAutoNum type="arabicPeriod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71700" y="6522444"/>
            <a:ext cx="7200000" cy="216000"/>
          </a:xfrm>
        </p:spPr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99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162FC-E8FF-4D52-8F53-8F2A2A3AD3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753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uss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412875"/>
            <a:ext cx="10728325" cy="3960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D5A3C0-7A2F-4A62-9057-882FB8F5659A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F6D94FA-21C6-4AE0-AA4F-3A077810ED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6" y="5570135"/>
            <a:ext cx="5364164" cy="721233"/>
          </a:xfrm>
        </p:spPr>
        <p:txBody>
          <a:bodyPr anchor="b" anchorCtr="0"/>
          <a:lstStyle>
            <a:lvl1pPr marL="179388" indent="-179388">
              <a:spcBef>
                <a:spcPts val="0"/>
              </a:spcBef>
              <a:buFont typeface="+mj-lt"/>
              <a:buAutoNum type="arabicPeriod"/>
              <a:defRPr sz="800"/>
            </a:lvl1pPr>
            <a:lvl2pPr marL="266700" indent="0">
              <a:buNone/>
              <a:defRPr sz="800"/>
            </a:lvl2pPr>
            <a:lvl3pPr marL="538163" indent="0">
              <a:buNone/>
              <a:defRPr sz="800"/>
            </a:lvl3pPr>
            <a:lvl4pPr marL="804862" indent="0">
              <a:buNone/>
              <a:defRPr sz="800"/>
            </a:lvl4pPr>
            <a:lvl5pPr marL="1076325" indent="0">
              <a:buNone/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001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224781"/>
            <a:ext cx="10728325" cy="1260000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923CAD-8964-4A8E-9E9C-0F755B932903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CA52AF-F19D-405C-AD5F-7D94B96A5CC3}" type="slidenum">
              <a:rPr lang="de-CH" noProof="0" smtClean="0"/>
              <a:pPr/>
              <a:t>‹#›</a:t>
            </a:fld>
            <a:endParaRPr lang="de-CH" noProof="0"/>
          </a:p>
        </p:txBody>
      </p:sp>
      <p:grpSp>
        <p:nvGrpSpPr>
          <p:cNvPr id="10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GrpSpPr/>
          <p:nvPr/>
        </p:nvGrpSpPr>
        <p:grpSpPr>
          <a:xfrm>
            <a:off x="731837" y="6507088"/>
            <a:ext cx="984462" cy="162000"/>
            <a:chOff x="731837" y="6507088"/>
            <a:chExt cx="984462" cy="162000"/>
          </a:xfrm>
          <a:solidFill>
            <a:schemeClr val="bg1"/>
          </a:solidFill>
        </p:grpSpPr>
        <p:grpSp>
          <p:nvGrpSpPr>
            <p:cNvPr id="12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266489" y="6555186"/>
              <a:ext cx="197463" cy="110963"/>
              <a:chOff x="1266489" y="6555186"/>
              <a:chExt cx="197463" cy="110963"/>
            </a:xfrm>
            <a:grpFill/>
          </p:grpSpPr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18BB0752-F87C-44D9-A9A5-97AF1DEDA1AE}"/>
                  </a:ext>
                </a:extLst>
              </p:cNvPr>
              <p:cNvSpPr/>
              <p:nvPr/>
            </p:nvSpPr>
            <p:spPr>
              <a:xfrm>
                <a:off x="1266489" y="6556934"/>
                <a:ext cx="95902" cy="109216"/>
              </a:xfrm>
              <a:custGeom>
                <a:avLst/>
                <a:gdLst>
                  <a:gd name="connsiteX0" fmla="*/ 66742 w 95902"/>
                  <a:gd name="connsiteY0" fmla="*/ 65797 h 109216"/>
                  <a:gd name="connsiteX1" fmla="*/ 35339 w 95902"/>
                  <a:gd name="connsiteY1" fmla="*/ 95082 h 109216"/>
                  <a:gd name="connsiteX2" fmla="*/ 15953 w 95902"/>
                  <a:gd name="connsiteY2" fmla="*/ 79537 h 109216"/>
                  <a:gd name="connsiteX3" fmla="*/ 15899 w 95902"/>
                  <a:gd name="connsiteY3" fmla="*/ 76265 h 109216"/>
                  <a:gd name="connsiteX4" fmla="*/ 16896 w 95902"/>
                  <a:gd name="connsiteY4" fmla="*/ 66295 h 109216"/>
                  <a:gd name="connsiteX5" fmla="*/ 30230 w 95902"/>
                  <a:gd name="connsiteY5" fmla="*/ 0 h 109216"/>
                  <a:gd name="connsiteX6" fmla="*/ 30230 w 95902"/>
                  <a:gd name="connsiteY6" fmla="*/ 0 h 109216"/>
                  <a:gd name="connsiteX7" fmla="*/ 14528 w 95902"/>
                  <a:gd name="connsiteY7" fmla="*/ 0 h 109216"/>
                  <a:gd name="connsiteX8" fmla="*/ 1194 w 95902"/>
                  <a:gd name="connsiteY8" fmla="*/ 67791 h 109216"/>
                  <a:gd name="connsiteX9" fmla="*/ 1194 w 95902"/>
                  <a:gd name="connsiteY9" fmla="*/ 68788 h 109216"/>
                  <a:gd name="connsiteX10" fmla="*/ 73 w 95902"/>
                  <a:gd name="connsiteY10" fmla="*/ 78508 h 109216"/>
                  <a:gd name="connsiteX11" fmla="*/ 26638 w 95902"/>
                  <a:gd name="connsiteY11" fmla="*/ 109122 h 109216"/>
                  <a:gd name="connsiteX12" fmla="*/ 29980 w 95902"/>
                  <a:gd name="connsiteY12" fmla="*/ 109163 h 109216"/>
                  <a:gd name="connsiteX13" fmla="*/ 61384 w 95902"/>
                  <a:gd name="connsiteY13" fmla="*/ 96702 h 109216"/>
                  <a:gd name="connsiteX14" fmla="*/ 59265 w 95902"/>
                  <a:gd name="connsiteY14" fmla="*/ 107917 h 109216"/>
                  <a:gd name="connsiteX15" fmla="*/ 59265 w 95902"/>
                  <a:gd name="connsiteY15" fmla="*/ 107917 h 109216"/>
                  <a:gd name="connsiteX16" fmla="*/ 74842 w 95902"/>
                  <a:gd name="connsiteY16" fmla="*/ 107917 h 109216"/>
                  <a:gd name="connsiteX17" fmla="*/ 95902 w 95902"/>
                  <a:gd name="connsiteY17" fmla="*/ 0 h 109216"/>
                  <a:gd name="connsiteX18" fmla="*/ 95902 w 95902"/>
                  <a:gd name="connsiteY18" fmla="*/ 0 h 109216"/>
                  <a:gd name="connsiteX19" fmla="*/ 79951 w 95902"/>
                  <a:gd name="connsiteY19" fmla="*/ 0 h 10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5902" h="109216">
                    <a:moveTo>
                      <a:pt x="66742" y="65797"/>
                    </a:moveTo>
                    <a:cubicBezTo>
                      <a:pt x="65228" y="82115"/>
                      <a:pt x="51723" y="94709"/>
                      <a:pt x="35339" y="95082"/>
                    </a:cubicBezTo>
                    <a:cubicBezTo>
                      <a:pt x="25692" y="96142"/>
                      <a:pt x="17013" y="89183"/>
                      <a:pt x="15953" y="79537"/>
                    </a:cubicBezTo>
                    <a:cubicBezTo>
                      <a:pt x="15833" y="78450"/>
                      <a:pt x="15814" y="77355"/>
                      <a:pt x="15899" y="76265"/>
                    </a:cubicBezTo>
                    <a:cubicBezTo>
                      <a:pt x="15976" y="72921"/>
                      <a:pt x="16309" y="69588"/>
                      <a:pt x="16896" y="66295"/>
                    </a:cubicBezTo>
                    <a:lnTo>
                      <a:pt x="30230" y="0"/>
                    </a:lnTo>
                    <a:lnTo>
                      <a:pt x="30230" y="0"/>
                    </a:lnTo>
                    <a:lnTo>
                      <a:pt x="14528" y="0"/>
                    </a:lnTo>
                    <a:lnTo>
                      <a:pt x="1194" y="67791"/>
                    </a:lnTo>
                    <a:lnTo>
                      <a:pt x="1194" y="68788"/>
                    </a:lnTo>
                    <a:cubicBezTo>
                      <a:pt x="472" y="71978"/>
                      <a:pt x="95" y="75237"/>
                      <a:pt x="73" y="78508"/>
                    </a:cubicBezTo>
                    <a:cubicBezTo>
                      <a:pt x="-1045" y="94298"/>
                      <a:pt x="10848" y="108004"/>
                      <a:pt x="26638" y="109122"/>
                    </a:cubicBezTo>
                    <a:cubicBezTo>
                      <a:pt x="27751" y="109200"/>
                      <a:pt x="28866" y="109214"/>
                      <a:pt x="29980" y="109163"/>
                    </a:cubicBezTo>
                    <a:cubicBezTo>
                      <a:pt x="41760" y="109765"/>
                      <a:pt x="53221" y="105218"/>
                      <a:pt x="61384" y="96702"/>
                    </a:cubicBezTo>
                    <a:lnTo>
                      <a:pt x="59265" y="107917"/>
                    </a:lnTo>
                    <a:lnTo>
                      <a:pt x="59265" y="107917"/>
                    </a:lnTo>
                    <a:lnTo>
                      <a:pt x="74842" y="107917"/>
                    </a:lnTo>
                    <a:lnTo>
                      <a:pt x="95902" y="0"/>
                    </a:lnTo>
                    <a:lnTo>
                      <a:pt x="95902" y="0"/>
                    </a:lnTo>
                    <a:lnTo>
                      <a:pt x="79951" y="0"/>
                    </a:lnTo>
                    <a:close/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ED44DE23-7081-4AC9-BF06-502BEC71C004}"/>
                  </a:ext>
                </a:extLst>
              </p:cNvPr>
              <p:cNvSpPr/>
              <p:nvPr/>
            </p:nvSpPr>
            <p:spPr>
              <a:xfrm>
                <a:off x="1376472" y="6555186"/>
                <a:ext cx="87480" cy="109664"/>
              </a:xfrm>
              <a:custGeom>
                <a:avLst/>
                <a:gdLst>
                  <a:gd name="connsiteX0" fmla="*/ 64302 w 87480"/>
                  <a:gd name="connsiteY0" fmla="*/ 3 h 109664"/>
                  <a:gd name="connsiteX1" fmla="*/ 34518 w 87480"/>
                  <a:gd name="connsiteY1" fmla="*/ 14209 h 109664"/>
                  <a:gd name="connsiteX2" fmla="*/ 36886 w 87480"/>
                  <a:gd name="connsiteY2" fmla="*/ 1747 h 109664"/>
                  <a:gd name="connsiteX3" fmla="*/ 36886 w 87480"/>
                  <a:gd name="connsiteY3" fmla="*/ 1747 h 109664"/>
                  <a:gd name="connsiteX4" fmla="*/ 21434 w 87480"/>
                  <a:gd name="connsiteY4" fmla="*/ 1747 h 109664"/>
                  <a:gd name="connsiteX5" fmla="*/ 0 w 87480"/>
                  <a:gd name="connsiteY5" fmla="*/ 109664 h 109664"/>
                  <a:gd name="connsiteX6" fmla="*/ 0 w 87480"/>
                  <a:gd name="connsiteY6" fmla="*/ 109664 h 109664"/>
                  <a:gd name="connsiteX7" fmla="*/ 15826 w 87480"/>
                  <a:gd name="connsiteY7" fmla="*/ 109664 h 109664"/>
                  <a:gd name="connsiteX8" fmla="*/ 28288 w 87480"/>
                  <a:gd name="connsiteY8" fmla="*/ 43493 h 109664"/>
                  <a:gd name="connsiteX9" fmla="*/ 59940 w 87480"/>
                  <a:gd name="connsiteY9" fmla="*/ 14209 h 109664"/>
                  <a:gd name="connsiteX10" fmla="*/ 75019 w 87480"/>
                  <a:gd name="connsiteY10" fmla="*/ 21810 h 109664"/>
                  <a:gd name="connsiteX11" fmla="*/ 75019 w 87480"/>
                  <a:gd name="connsiteY11" fmla="*/ 21810 h 109664"/>
                  <a:gd name="connsiteX12" fmla="*/ 87480 w 87480"/>
                  <a:gd name="connsiteY12" fmla="*/ 10346 h 109664"/>
                  <a:gd name="connsiteX13" fmla="*/ 87480 w 87480"/>
                  <a:gd name="connsiteY13" fmla="*/ 10346 h 109664"/>
                  <a:gd name="connsiteX14" fmla="*/ 63928 w 87480"/>
                  <a:gd name="connsiteY14" fmla="*/ 252 h 109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7480" h="109664">
                    <a:moveTo>
                      <a:pt x="64302" y="3"/>
                    </a:moveTo>
                    <a:cubicBezTo>
                      <a:pt x="52709" y="-136"/>
                      <a:pt x="41706" y="5111"/>
                      <a:pt x="34518" y="14209"/>
                    </a:cubicBezTo>
                    <a:lnTo>
                      <a:pt x="36886" y="1747"/>
                    </a:lnTo>
                    <a:lnTo>
                      <a:pt x="36886" y="1747"/>
                    </a:lnTo>
                    <a:lnTo>
                      <a:pt x="21434" y="1747"/>
                    </a:lnTo>
                    <a:lnTo>
                      <a:pt x="0" y="109664"/>
                    </a:lnTo>
                    <a:lnTo>
                      <a:pt x="0" y="109664"/>
                    </a:lnTo>
                    <a:lnTo>
                      <a:pt x="15826" y="109664"/>
                    </a:lnTo>
                    <a:lnTo>
                      <a:pt x="28288" y="43493"/>
                    </a:lnTo>
                    <a:cubicBezTo>
                      <a:pt x="30515" y="27438"/>
                      <a:pt x="43760" y="15183"/>
                      <a:pt x="59940" y="14209"/>
                    </a:cubicBezTo>
                    <a:cubicBezTo>
                      <a:pt x="65919" y="14072"/>
                      <a:pt x="71573" y="16922"/>
                      <a:pt x="75019" y="21810"/>
                    </a:cubicBezTo>
                    <a:lnTo>
                      <a:pt x="75019" y="21810"/>
                    </a:lnTo>
                    <a:lnTo>
                      <a:pt x="87480" y="10346"/>
                    </a:lnTo>
                    <a:lnTo>
                      <a:pt x="87480" y="10346"/>
                    </a:lnTo>
                    <a:cubicBezTo>
                      <a:pt x="81552" y="3603"/>
                      <a:pt x="72899" y="-105"/>
                      <a:pt x="63928" y="2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18C24FD2-AEE2-43CA-8EB3-8E646C2E5E46}"/>
                </a:ext>
              </a:extLst>
            </p:cNvPr>
            <p:cNvSpPr/>
            <p:nvPr/>
          </p:nvSpPr>
          <p:spPr>
            <a:xfrm>
              <a:off x="1159517" y="6556560"/>
              <a:ext cx="96452" cy="108166"/>
            </a:xfrm>
            <a:custGeom>
              <a:avLst/>
              <a:gdLst>
                <a:gd name="connsiteX0" fmla="*/ 23303 w 96452"/>
                <a:gd name="connsiteY0" fmla="*/ 0 h 108166"/>
                <a:gd name="connsiteX1" fmla="*/ 20562 w 96452"/>
                <a:gd name="connsiteY1" fmla="*/ 13708 h 108166"/>
                <a:gd name="connsiteX2" fmla="*/ 20562 w 96452"/>
                <a:gd name="connsiteY2" fmla="*/ 13957 h 108166"/>
                <a:gd name="connsiteX3" fmla="*/ 74271 w 96452"/>
                <a:gd name="connsiteY3" fmla="*/ 13957 h 108166"/>
                <a:gd name="connsiteX4" fmla="*/ 2742 w 96452"/>
                <a:gd name="connsiteY4" fmla="*/ 94957 h 108166"/>
                <a:gd name="connsiteX5" fmla="*/ 2617 w 96452"/>
                <a:gd name="connsiteY5" fmla="*/ 94957 h 108166"/>
                <a:gd name="connsiteX6" fmla="*/ 0 w 96452"/>
                <a:gd name="connsiteY6" fmla="*/ 108166 h 108166"/>
                <a:gd name="connsiteX7" fmla="*/ 76265 w 96452"/>
                <a:gd name="connsiteY7" fmla="*/ 108166 h 108166"/>
                <a:gd name="connsiteX8" fmla="*/ 79006 w 96452"/>
                <a:gd name="connsiteY8" fmla="*/ 94209 h 108166"/>
                <a:gd name="connsiteX9" fmla="*/ 21932 w 96452"/>
                <a:gd name="connsiteY9" fmla="*/ 94209 h 108166"/>
                <a:gd name="connsiteX10" fmla="*/ 93835 w 96452"/>
                <a:gd name="connsiteY10" fmla="*/ 13209 h 108166"/>
                <a:gd name="connsiteX11" fmla="*/ 93835 w 96452"/>
                <a:gd name="connsiteY11" fmla="*/ 13209 h 108166"/>
                <a:gd name="connsiteX12" fmla="*/ 96452 w 96452"/>
                <a:gd name="connsiteY12" fmla="*/ 0 h 108166"/>
                <a:gd name="connsiteX13" fmla="*/ 23303 w 96452"/>
                <a:gd name="connsiteY13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452" h="108166">
                  <a:moveTo>
                    <a:pt x="23303" y="0"/>
                  </a:moveTo>
                  <a:lnTo>
                    <a:pt x="20562" y="13708"/>
                  </a:lnTo>
                  <a:lnTo>
                    <a:pt x="20562" y="13957"/>
                  </a:lnTo>
                  <a:lnTo>
                    <a:pt x="74271" y="13957"/>
                  </a:lnTo>
                  <a:lnTo>
                    <a:pt x="2742" y="94957"/>
                  </a:lnTo>
                  <a:lnTo>
                    <a:pt x="2617" y="94957"/>
                  </a:lnTo>
                  <a:lnTo>
                    <a:pt x="0" y="108166"/>
                  </a:lnTo>
                  <a:lnTo>
                    <a:pt x="76265" y="108166"/>
                  </a:lnTo>
                  <a:lnTo>
                    <a:pt x="79006" y="94209"/>
                  </a:lnTo>
                  <a:lnTo>
                    <a:pt x="21932" y="94209"/>
                  </a:lnTo>
                  <a:lnTo>
                    <a:pt x="93835" y="13209"/>
                  </a:lnTo>
                  <a:lnTo>
                    <a:pt x="93835" y="13209"/>
                  </a:lnTo>
                  <a:lnTo>
                    <a:pt x="96452" y="0"/>
                  </a:lnTo>
                  <a:lnTo>
                    <a:pt x="2330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EE7F6F4-4D2C-45B3-A061-9606B2BD36A7}"/>
                </a:ext>
              </a:extLst>
            </p:cNvPr>
            <p:cNvSpPr/>
            <p:nvPr/>
          </p:nvSpPr>
          <p:spPr>
            <a:xfrm>
              <a:off x="1466445" y="6556560"/>
              <a:ext cx="37259" cy="108166"/>
            </a:xfrm>
            <a:custGeom>
              <a:avLst/>
              <a:gdLst>
                <a:gd name="connsiteX0" fmla="*/ 21683 w 37259"/>
                <a:gd name="connsiteY0" fmla="*/ 0 h 108166"/>
                <a:gd name="connsiteX1" fmla="*/ 0 w 37259"/>
                <a:gd name="connsiteY1" fmla="*/ 107917 h 108166"/>
                <a:gd name="connsiteX2" fmla="*/ 0 w 37259"/>
                <a:gd name="connsiteY2" fmla="*/ 108166 h 108166"/>
                <a:gd name="connsiteX3" fmla="*/ 15702 w 37259"/>
                <a:gd name="connsiteY3" fmla="*/ 108166 h 108166"/>
                <a:gd name="connsiteX4" fmla="*/ 37260 w 37259"/>
                <a:gd name="connsiteY4" fmla="*/ 0 h 108166"/>
                <a:gd name="connsiteX5" fmla="*/ 21683 w 37259"/>
                <a:gd name="connsiteY5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259" h="108166">
                  <a:moveTo>
                    <a:pt x="21683" y="0"/>
                  </a:moveTo>
                  <a:lnTo>
                    <a:pt x="0" y="107917"/>
                  </a:lnTo>
                  <a:lnTo>
                    <a:pt x="0" y="108166"/>
                  </a:lnTo>
                  <a:lnTo>
                    <a:pt x="15702" y="108166"/>
                  </a:lnTo>
                  <a:lnTo>
                    <a:pt x="37260" y="0"/>
                  </a:lnTo>
                  <a:lnTo>
                    <a:pt x="2168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grpSp>
          <p:nvGrpSpPr>
            <p:cNvPr id="17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518879" y="6507337"/>
              <a:ext cx="191395" cy="158803"/>
              <a:chOff x="1518879" y="6507337"/>
              <a:chExt cx="191395" cy="158803"/>
            </a:xfrm>
            <a:grpFill/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B2186F78-5D28-4695-8B1C-5A3F1A53AAB3}"/>
                  </a:ext>
                </a:extLst>
              </p:cNvPr>
              <p:cNvSpPr/>
              <p:nvPr/>
            </p:nvSpPr>
            <p:spPr>
              <a:xfrm>
                <a:off x="1614114" y="6507337"/>
                <a:ext cx="96160" cy="157638"/>
              </a:xfrm>
              <a:custGeom>
                <a:avLst/>
                <a:gdLst>
                  <a:gd name="connsiteX0" fmla="*/ 66046 w 96160"/>
                  <a:gd name="connsiteY0" fmla="*/ 47852 h 157638"/>
                  <a:gd name="connsiteX1" fmla="*/ 35142 w 96160"/>
                  <a:gd name="connsiteY1" fmla="*/ 60314 h 157638"/>
                  <a:gd name="connsiteX2" fmla="*/ 47603 w 96160"/>
                  <a:gd name="connsiteY2" fmla="*/ 0 h 157638"/>
                  <a:gd name="connsiteX3" fmla="*/ 31652 w 96160"/>
                  <a:gd name="connsiteY3" fmla="*/ 0 h 157638"/>
                  <a:gd name="connsiteX4" fmla="*/ 0 w 96160"/>
                  <a:gd name="connsiteY4" fmla="*/ 157389 h 157638"/>
                  <a:gd name="connsiteX5" fmla="*/ 15701 w 96160"/>
                  <a:gd name="connsiteY5" fmla="*/ 157389 h 157638"/>
                  <a:gd name="connsiteX6" fmla="*/ 28911 w 96160"/>
                  <a:gd name="connsiteY6" fmla="*/ 91218 h 157638"/>
                  <a:gd name="connsiteX7" fmla="*/ 60563 w 96160"/>
                  <a:gd name="connsiteY7" fmla="*/ 62058 h 157638"/>
                  <a:gd name="connsiteX8" fmla="*/ 79837 w 96160"/>
                  <a:gd name="connsiteY8" fmla="*/ 77742 h 157638"/>
                  <a:gd name="connsiteX9" fmla="*/ 79878 w 96160"/>
                  <a:gd name="connsiteY9" fmla="*/ 80875 h 157638"/>
                  <a:gd name="connsiteX10" fmla="*/ 78757 w 96160"/>
                  <a:gd name="connsiteY10" fmla="*/ 90969 h 157638"/>
                  <a:gd name="connsiteX11" fmla="*/ 65423 w 96160"/>
                  <a:gd name="connsiteY11" fmla="*/ 157638 h 157638"/>
                  <a:gd name="connsiteX12" fmla="*/ 81125 w 96160"/>
                  <a:gd name="connsiteY12" fmla="*/ 157638 h 157638"/>
                  <a:gd name="connsiteX13" fmla="*/ 94957 w 96160"/>
                  <a:gd name="connsiteY13" fmla="*/ 89474 h 157638"/>
                  <a:gd name="connsiteX14" fmla="*/ 96078 w 96160"/>
                  <a:gd name="connsiteY14" fmla="*/ 78757 h 157638"/>
                  <a:gd name="connsiteX15" fmla="*/ 69522 w 96160"/>
                  <a:gd name="connsiteY15" fmla="*/ 47902 h 157638"/>
                  <a:gd name="connsiteX16" fmla="*/ 66046 w 96160"/>
                  <a:gd name="connsiteY16" fmla="*/ 47852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160" h="157638">
                    <a:moveTo>
                      <a:pt x="66046" y="47852"/>
                    </a:moveTo>
                    <a:cubicBezTo>
                      <a:pt x="54431" y="47363"/>
                      <a:pt x="43168" y="51904"/>
                      <a:pt x="35142" y="60314"/>
                    </a:cubicBezTo>
                    <a:lnTo>
                      <a:pt x="47603" y="0"/>
                    </a:lnTo>
                    <a:lnTo>
                      <a:pt x="31652" y="0"/>
                    </a:lnTo>
                    <a:lnTo>
                      <a:pt x="0" y="157389"/>
                    </a:lnTo>
                    <a:lnTo>
                      <a:pt x="15701" y="157389"/>
                    </a:lnTo>
                    <a:lnTo>
                      <a:pt x="28911" y="91218"/>
                    </a:lnTo>
                    <a:cubicBezTo>
                      <a:pt x="30603" y="74910"/>
                      <a:pt x="44170" y="62411"/>
                      <a:pt x="60563" y="62058"/>
                    </a:cubicBezTo>
                    <a:cubicBezTo>
                      <a:pt x="70216" y="61067"/>
                      <a:pt x="78845" y="68088"/>
                      <a:pt x="79837" y="77742"/>
                    </a:cubicBezTo>
                    <a:cubicBezTo>
                      <a:pt x="79945" y="78783"/>
                      <a:pt x="79958" y="79832"/>
                      <a:pt x="79878" y="80875"/>
                    </a:cubicBezTo>
                    <a:cubicBezTo>
                      <a:pt x="79822" y="84268"/>
                      <a:pt x="79446" y="87647"/>
                      <a:pt x="78757" y="90969"/>
                    </a:cubicBezTo>
                    <a:lnTo>
                      <a:pt x="65423" y="157638"/>
                    </a:lnTo>
                    <a:lnTo>
                      <a:pt x="81125" y="157638"/>
                    </a:lnTo>
                    <a:lnTo>
                      <a:pt x="94957" y="89474"/>
                    </a:lnTo>
                    <a:cubicBezTo>
                      <a:pt x="95657" y="85943"/>
                      <a:pt x="96034" y="82356"/>
                      <a:pt x="96078" y="78757"/>
                    </a:cubicBezTo>
                    <a:cubicBezTo>
                      <a:pt x="97265" y="62903"/>
                      <a:pt x="85375" y="49089"/>
                      <a:pt x="69522" y="47902"/>
                    </a:cubicBezTo>
                    <a:cubicBezTo>
                      <a:pt x="68365" y="47815"/>
                      <a:pt x="67205" y="47799"/>
                      <a:pt x="66046" y="478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1FE5475E-83C3-4BE3-BBF1-FAE9A6986B3F}"/>
                  </a:ext>
                </a:extLst>
              </p:cNvPr>
              <p:cNvSpPr/>
              <p:nvPr/>
            </p:nvSpPr>
            <p:spPr>
              <a:xfrm>
                <a:off x="1518879" y="6555189"/>
                <a:ext cx="87882" cy="110951"/>
              </a:xfrm>
              <a:custGeom>
                <a:avLst/>
                <a:gdLst>
                  <a:gd name="connsiteX0" fmla="*/ 56853 w 87882"/>
                  <a:gd name="connsiteY0" fmla="*/ 0 h 110951"/>
                  <a:gd name="connsiteX1" fmla="*/ 1649 w 87882"/>
                  <a:gd name="connsiteY1" fmla="*/ 55329 h 110951"/>
                  <a:gd name="connsiteX2" fmla="*/ 153 w 87882"/>
                  <a:gd name="connsiteY2" fmla="*/ 71903 h 110951"/>
                  <a:gd name="connsiteX3" fmla="*/ 32484 w 87882"/>
                  <a:gd name="connsiteY3" fmla="*/ 110801 h 110951"/>
                  <a:gd name="connsiteX4" fmla="*/ 37538 w 87882"/>
                  <a:gd name="connsiteY4" fmla="*/ 110908 h 110951"/>
                  <a:gd name="connsiteX5" fmla="*/ 73552 w 87882"/>
                  <a:gd name="connsiteY5" fmla="*/ 95705 h 110951"/>
                  <a:gd name="connsiteX6" fmla="*/ 73552 w 87882"/>
                  <a:gd name="connsiteY6" fmla="*/ 95705 h 110951"/>
                  <a:gd name="connsiteX7" fmla="*/ 64455 w 87882"/>
                  <a:gd name="connsiteY7" fmla="*/ 84614 h 110951"/>
                  <a:gd name="connsiteX8" fmla="*/ 64455 w 87882"/>
                  <a:gd name="connsiteY8" fmla="*/ 84614 h 110951"/>
                  <a:gd name="connsiteX9" fmla="*/ 64455 w 87882"/>
                  <a:gd name="connsiteY9" fmla="*/ 84614 h 110951"/>
                  <a:gd name="connsiteX10" fmla="*/ 38535 w 87882"/>
                  <a:gd name="connsiteY10" fmla="*/ 97075 h 110951"/>
                  <a:gd name="connsiteX11" fmla="*/ 15233 w 87882"/>
                  <a:gd name="connsiteY11" fmla="*/ 75551 h 110951"/>
                  <a:gd name="connsiteX12" fmla="*/ 15356 w 87882"/>
                  <a:gd name="connsiteY12" fmla="*/ 72152 h 110951"/>
                  <a:gd name="connsiteX13" fmla="*/ 17101 w 87882"/>
                  <a:gd name="connsiteY13" fmla="*/ 55952 h 110951"/>
                  <a:gd name="connsiteX14" fmla="*/ 31058 w 87882"/>
                  <a:gd name="connsiteY14" fmla="*/ 25048 h 110951"/>
                  <a:gd name="connsiteX15" fmla="*/ 55233 w 87882"/>
                  <a:gd name="connsiteY15" fmla="*/ 14206 h 110951"/>
                  <a:gd name="connsiteX16" fmla="*/ 76293 w 87882"/>
                  <a:gd name="connsiteY16" fmla="*/ 26668 h 110951"/>
                  <a:gd name="connsiteX17" fmla="*/ 76293 w 87882"/>
                  <a:gd name="connsiteY17" fmla="*/ 26668 h 110951"/>
                  <a:gd name="connsiteX18" fmla="*/ 87883 w 87882"/>
                  <a:gd name="connsiteY18" fmla="*/ 16823 h 110951"/>
                  <a:gd name="connsiteX19" fmla="*/ 87883 w 87882"/>
                  <a:gd name="connsiteY19" fmla="*/ 16823 h 110951"/>
                  <a:gd name="connsiteX20" fmla="*/ 56729 w 87882"/>
                  <a:gd name="connsiteY20" fmla="*/ 748 h 110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7882" h="110951">
                    <a:moveTo>
                      <a:pt x="56853" y="0"/>
                    </a:moveTo>
                    <a:cubicBezTo>
                      <a:pt x="28192" y="0"/>
                      <a:pt x="8129" y="20188"/>
                      <a:pt x="1649" y="55329"/>
                    </a:cubicBezTo>
                    <a:cubicBezTo>
                      <a:pt x="671" y="60800"/>
                      <a:pt x="170" y="66345"/>
                      <a:pt x="153" y="71903"/>
                    </a:cubicBezTo>
                    <a:cubicBezTo>
                      <a:pt x="-1660" y="91572"/>
                      <a:pt x="12814" y="108987"/>
                      <a:pt x="32484" y="110801"/>
                    </a:cubicBezTo>
                    <a:cubicBezTo>
                      <a:pt x="34163" y="110955"/>
                      <a:pt x="35853" y="110991"/>
                      <a:pt x="37538" y="110908"/>
                    </a:cubicBezTo>
                    <a:cubicBezTo>
                      <a:pt x="51112" y="110955"/>
                      <a:pt x="64118" y="105465"/>
                      <a:pt x="73552" y="95705"/>
                    </a:cubicBezTo>
                    <a:lnTo>
                      <a:pt x="73552" y="95705"/>
                    </a:lnTo>
                    <a:lnTo>
                      <a:pt x="64455" y="84614"/>
                    </a:lnTo>
                    <a:lnTo>
                      <a:pt x="64455" y="84614"/>
                    </a:lnTo>
                    <a:lnTo>
                      <a:pt x="64455" y="84614"/>
                    </a:lnTo>
                    <a:cubicBezTo>
                      <a:pt x="58138" y="92466"/>
                      <a:pt x="48613" y="97045"/>
                      <a:pt x="38535" y="97075"/>
                    </a:cubicBezTo>
                    <a:cubicBezTo>
                      <a:pt x="26157" y="97566"/>
                      <a:pt x="15724" y="87929"/>
                      <a:pt x="15233" y="75551"/>
                    </a:cubicBezTo>
                    <a:cubicBezTo>
                      <a:pt x="15188" y="74416"/>
                      <a:pt x="15229" y="73280"/>
                      <a:pt x="15356" y="72152"/>
                    </a:cubicBezTo>
                    <a:cubicBezTo>
                      <a:pt x="15424" y="66709"/>
                      <a:pt x="16008" y="61285"/>
                      <a:pt x="17101" y="55952"/>
                    </a:cubicBezTo>
                    <a:cubicBezTo>
                      <a:pt x="18838" y="44568"/>
                      <a:pt x="23666" y="33878"/>
                      <a:pt x="31058" y="25048"/>
                    </a:cubicBezTo>
                    <a:cubicBezTo>
                      <a:pt x="37213" y="18167"/>
                      <a:pt x="46002" y="14225"/>
                      <a:pt x="55233" y="14206"/>
                    </a:cubicBezTo>
                    <a:cubicBezTo>
                      <a:pt x="64085" y="13892"/>
                      <a:pt x="72308" y="18758"/>
                      <a:pt x="76293" y="26668"/>
                    </a:cubicBezTo>
                    <a:lnTo>
                      <a:pt x="76293" y="26668"/>
                    </a:lnTo>
                    <a:lnTo>
                      <a:pt x="87883" y="16823"/>
                    </a:lnTo>
                    <a:lnTo>
                      <a:pt x="87883" y="16823"/>
                    </a:lnTo>
                    <a:cubicBezTo>
                      <a:pt x="81104" y="6298"/>
                      <a:pt x="69235" y="174"/>
                      <a:pt x="56729" y="748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1B77B6E-E7CB-412B-95AC-A9322C6799BB}"/>
                </a:ext>
              </a:extLst>
            </p:cNvPr>
            <p:cNvSpPr/>
            <p:nvPr/>
          </p:nvSpPr>
          <p:spPr>
            <a:xfrm>
              <a:off x="1493985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32E5C1A-13CE-49A6-B590-B6EAA5F9E1AD}"/>
                </a:ext>
              </a:extLst>
            </p:cNvPr>
            <p:cNvSpPr/>
            <p:nvPr/>
          </p:nvSpPr>
          <p:spPr>
            <a:xfrm>
              <a:off x="1340708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63AE00B0-780F-4053-8FE9-B7D321217AFF}"/>
                </a:ext>
              </a:extLst>
            </p:cNvPr>
            <p:cNvSpPr/>
            <p:nvPr/>
          </p:nvSpPr>
          <p:spPr>
            <a:xfrm>
              <a:off x="1298712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702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702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406CEAF-7399-4CCB-A322-03F0BA2532F5}"/>
                </a:ext>
              </a:extLst>
            </p:cNvPr>
            <p:cNvSpPr/>
            <p:nvPr/>
          </p:nvSpPr>
          <p:spPr>
            <a:xfrm>
              <a:off x="731837" y="6507088"/>
              <a:ext cx="417960" cy="157638"/>
            </a:xfrm>
            <a:custGeom>
              <a:avLst/>
              <a:gdLst>
                <a:gd name="connsiteX0" fmla="*/ 368612 w 417960"/>
                <a:gd name="connsiteY0" fmla="*/ 0 h 157638"/>
                <a:gd name="connsiteX1" fmla="*/ 356151 w 417960"/>
                <a:gd name="connsiteY1" fmla="*/ 61062 h 157638"/>
                <a:gd name="connsiteX2" fmla="*/ 320760 w 417960"/>
                <a:gd name="connsiteY2" fmla="*/ 61062 h 157638"/>
                <a:gd name="connsiteX3" fmla="*/ 333222 w 417960"/>
                <a:gd name="connsiteY3" fmla="*/ 0 h 157638"/>
                <a:gd name="connsiteX4" fmla="*/ 31652 w 417960"/>
                <a:gd name="connsiteY4" fmla="*/ 0 h 157638"/>
                <a:gd name="connsiteX5" fmla="*/ 0 w 417960"/>
                <a:gd name="connsiteY5" fmla="*/ 157638 h 157638"/>
                <a:gd name="connsiteX6" fmla="*/ 120254 w 417960"/>
                <a:gd name="connsiteY6" fmla="*/ 157638 h 157638"/>
                <a:gd name="connsiteX7" fmla="*/ 128105 w 417960"/>
                <a:gd name="connsiteY7" fmla="*/ 118260 h 157638"/>
                <a:gd name="connsiteX8" fmla="*/ 57074 w 417960"/>
                <a:gd name="connsiteY8" fmla="*/ 118260 h 157638"/>
                <a:gd name="connsiteX9" fmla="*/ 61435 w 417960"/>
                <a:gd name="connsiteY9" fmla="*/ 96577 h 157638"/>
                <a:gd name="connsiteX10" fmla="*/ 132342 w 417960"/>
                <a:gd name="connsiteY10" fmla="*/ 96577 h 157638"/>
                <a:gd name="connsiteX11" fmla="*/ 139569 w 417960"/>
                <a:gd name="connsiteY11" fmla="*/ 61062 h 157638"/>
                <a:gd name="connsiteX12" fmla="*/ 68538 w 417960"/>
                <a:gd name="connsiteY12" fmla="*/ 61062 h 157638"/>
                <a:gd name="connsiteX13" fmla="*/ 72900 w 417960"/>
                <a:gd name="connsiteY13" fmla="*/ 39378 h 157638"/>
                <a:gd name="connsiteX14" fmla="*/ 185303 w 417960"/>
                <a:gd name="connsiteY14" fmla="*/ 39378 h 157638"/>
                <a:gd name="connsiteX15" fmla="*/ 161626 w 417960"/>
                <a:gd name="connsiteY15" fmla="*/ 157638 h 157638"/>
                <a:gd name="connsiteX16" fmla="*/ 210849 w 417960"/>
                <a:gd name="connsiteY16" fmla="*/ 157638 h 157638"/>
                <a:gd name="connsiteX17" fmla="*/ 234651 w 417960"/>
                <a:gd name="connsiteY17" fmla="*/ 39378 h 157638"/>
                <a:gd name="connsiteX18" fmla="*/ 276023 w 417960"/>
                <a:gd name="connsiteY18" fmla="*/ 39378 h 157638"/>
                <a:gd name="connsiteX19" fmla="*/ 252222 w 417960"/>
                <a:gd name="connsiteY19" fmla="*/ 157638 h 157638"/>
                <a:gd name="connsiteX20" fmla="*/ 301569 w 417960"/>
                <a:gd name="connsiteY20" fmla="*/ 157638 h 157638"/>
                <a:gd name="connsiteX21" fmla="*/ 313657 w 417960"/>
                <a:gd name="connsiteY21" fmla="*/ 96577 h 157638"/>
                <a:gd name="connsiteX22" fmla="*/ 349172 w 417960"/>
                <a:gd name="connsiteY22" fmla="*/ 96577 h 157638"/>
                <a:gd name="connsiteX23" fmla="*/ 336960 w 417960"/>
                <a:gd name="connsiteY23" fmla="*/ 157638 h 157638"/>
                <a:gd name="connsiteX24" fmla="*/ 386308 w 417960"/>
                <a:gd name="connsiteY24" fmla="*/ 157638 h 157638"/>
                <a:gd name="connsiteX25" fmla="*/ 417960 w 417960"/>
                <a:gd name="connsiteY25" fmla="*/ 0 h 157638"/>
                <a:gd name="connsiteX26" fmla="*/ 368612 w 417960"/>
                <a:gd name="connsiteY26" fmla="*/ 0 h 157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7960" h="157638">
                  <a:moveTo>
                    <a:pt x="368612" y="0"/>
                  </a:moveTo>
                  <a:lnTo>
                    <a:pt x="356151" y="61062"/>
                  </a:lnTo>
                  <a:lnTo>
                    <a:pt x="320760" y="61062"/>
                  </a:lnTo>
                  <a:lnTo>
                    <a:pt x="333222" y="0"/>
                  </a:lnTo>
                  <a:lnTo>
                    <a:pt x="31652" y="0"/>
                  </a:lnTo>
                  <a:lnTo>
                    <a:pt x="0" y="157638"/>
                  </a:lnTo>
                  <a:lnTo>
                    <a:pt x="120254" y="157638"/>
                  </a:lnTo>
                  <a:lnTo>
                    <a:pt x="128105" y="118260"/>
                  </a:lnTo>
                  <a:lnTo>
                    <a:pt x="57074" y="118260"/>
                  </a:lnTo>
                  <a:lnTo>
                    <a:pt x="61435" y="96577"/>
                  </a:lnTo>
                  <a:lnTo>
                    <a:pt x="132342" y="96577"/>
                  </a:lnTo>
                  <a:lnTo>
                    <a:pt x="139569" y="61062"/>
                  </a:lnTo>
                  <a:lnTo>
                    <a:pt x="68538" y="61062"/>
                  </a:lnTo>
                  <a:lnTo>
                    <a:pt x="72900" y="39378"/>
                  </a:lnTo>
                  <a:lnTo>
                    <a:pt x="185303" y="39378"/>
                  </a:lnTo>
                  <a:lnTo>
                    <a:pt x="161626" y="157638"/>
                  </a:lnTo>
                  <a:lnTo>
                    <a:pt x="210849" y="157638"/>
                  </a:lnTo>
                  <a:lnTo>
                    <a:pt x="234651" y="39378"/>
                  </a:lnTo>
                  <a:lnTo>
                    <a:pt x="276023" y="39378"/>
                  </a:lnTo>
                  <a:lnTo>
                    <a:pt x="252222" y="157638"/>
                  </a:lnTo>
                  <a:lnTo>
                    <a:pt x="301569" y="157638"/>
                  </a:lnTo>
                  <a:lnTo>
                    <a:pt x="313657" y="96577"/>
                  </a:lnTo>
                  <a:lnTo>
                    <a:pt x="349172" y="96577"/>
                  </a:lnTo>
                  <a:lnTo>
                    <a:pt x="336960" y="157638"/>
                  </a:lnTo>
                  <a:lnTo>
                    <a:pt x="386308" y="157638"/>
                  </a:lnTo>
                  <a:lnTo>
                    <a:pt x="417960" y="0"/>
                  </a:lnTo>
                  <a:lnTo>
                    <a:pt x="368612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</p:grpSp>
    </p:spTree>
    <p:extLst>
      <p:ext uri="{BB962C8B-B14F-4D97-AF65-F5344CB8AC3E}">
        <p14:creationId xmlns:p14="http://schemas.microsoft.com/office/powerpoint/2010/main" val="3716835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2E5834E-21B8-71CB-DC73-E6B944FA8F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929050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7772400" imgH="10058400" progId="TCLayout.ActiveDocument.1">
                  <p:embed/>
                </p:oleObj>
              </mc:Choice>
              <mc:Fallback>
                <p:oleObj name="think-cell Slide" r:id="rId19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E5834E-21B8-71CB-DC73-E6B944FA8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9CEF804-E58C-481B-A606-7D35AF68F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5C6EC0D-393C-42F2-B6A7-B19C9B098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837" y="1412875"/>
            <a:ext cx="10728325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Mastertext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C96E51-36C9-4BEE-A761-33378A0DF0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73692" y="6522444"/>
            <a:ext cx="612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269E37AB-EE9C-4565-B2FD-B1FC504BEE2A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C403-6E63-4450-AFDD-66CA49D6CC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71700" y="6522444"/>
            <a:ext cx="540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Organisationseinheit verbal – STRENG VERTRAULICH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DFCC57-7DDC-4B2C-A6BE-862DAF9C9F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7585" y="6522444"/>
            <a:ext cx="32257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5ACA52AF-F19D-405C-AD5F-7D94B96A5CC3}" type="slidenum">
              <a:rPr lang="de-CH" noProof="0" smtClean="0"/>
              <a:pPr/>
              <a:t>‹#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9606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0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61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orient="horz" pos="164" userDrawn="1">
          <p15:clr>
            <a:srgbClr val="F26B43"/>
          </p15:clr>
        </p15:guide>
        <p15:guide id="5" orient="horz" pos="890" userDrawn="1">
          <p15:clr>
            <a:srgbClr val="F26B43"/>
          </p15:clr>
        </p15:guide>
        <p15:guide id="6" orient="horz" pos="4201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2.bin"/><Relationship Id="rId7" Type="http://schemas.openxmlformats.org/officeDocument/2006/relationships/slide" Target="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10" Type="http://schemas.openxmlformats.org/officeDocument/2006/relationships/image" Target="../media/image13.png"/><Relationship Id="rId4" Type="http://schemas.openxmlformats.org/officeDocument/2006/relationships/image" Target="../media/image8.emf"/><Relationship Id="rId9" Type="http://schemas.openxmlformats.org/officeDocument/2006/relationships/image" Target="../media/image12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slide" Target="slide8.xml"/><Relationship Id="rId5" Type="http://schemas.openxmlformats.org/officeDocument/2006/relationships/image" Target="../media/image27.jpg"/><Relationship Id="rId4" Type="http://schemas.openxmlformats.org/officeDocument/2006/relationships/image" Target="../media/image26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29.png"/><Relationship Id="rId11" Type="http://schemas.openxmlformats.org/officeDocument/2006/relationships/image" Target="../media/image12.svg"/><Relationship Id="rId5" Type="http://schemas.openxmlformats.org/officeDocument/2006/relationships/image" Target="../media/image28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2.bin"/><Relationship Id="rId9" Type="http://schemas.openxmlformats.org/officeDocument/2006/relationships/slide" Target="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oleObject" Target="../embeddings/oleObject1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6" Type="http://schemas.openxmlformats.org/officeDocument/2006/relationships/image" Target="../media/image16.png"/><Relationship Id="rId5" Type="http://schemas.openxmlformats.org/officeDocument/2006/relationships/image" Target="../media/image31.png"/><Relationship Id="rId10" Type="http://schemas.openxmlformats.org/officeDocument/2006/relationships/image" Target="../media/image12.svg"/><Relationship Id="rId4" Type="http://schemas.openxmlformats.org/officeDocument/2006/relationships/image" Target="../media/image30.emf"/><Relationship Id="rId9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32.png"/><Relationship Id="rId11" Type="http://schemas.openxmlformats.org/officeDocument/2006/relationships/image" Target="../media/image12.svg"/><Relationship Id="rId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30.emf"/><Relationship Id="rId9" Type="http://schemas.openxmlformats.org/officeDocument/2006/relationships/slide" Target="slide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slide" Target="slide8.xml"/><Relationship Id="rId5" Type="http://schemas.openxmlformats.org/officeDocument/2006/relationships/image" Target="../media/image27.jpg"/><Relationship Id="rId4" Type="http://schemas.openxmlformats.org/officeDocument/2006/relationships/image" Target="../media/image26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35.png"/><Relationship Id="rId5" Type="http://schemas.openxmlformats.org/officeDocument/2006/relationships/image" Target="../media/image34.emf"/><Relationship Id="rId10" Type="http://schemas.openxmlformats.org/officeDocument/2006/relationships/image" Target="../media/image12.sv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7.bin"/><Relationship Id="rId7" Type="http://schemas.openxmlformats.org/officeDocument/2006/relationships/slide" Target="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6" Type="http://schemas.openxmlformats.org/officeDocument/2006/relationships/image" Target="../media/image25.png"/><Relationship Id="rId5" Type="http://schemas.openxmlformats.org/officeDocument/2006/relationships/image" Target="../media/image37.png"/><Relationship Id="rId4" Type="http://schemas.openxmlformats.org/officeDocument/2006/relationships/image" Target="../media/image36.emf"/><Relationship Id="rId9" Type="http://schemas.openxmlformats.org/officeDocument/2006/relationships/image" Target="../media/image12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oleObject" Target="../embeddings/oleObject17.bin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6" Type="http://schemas.openxmlformats.org/officeDocument/2006/relationships/image" Target="../media/image38.png"/><Relationship Id="rId5" Type="http://schemas.openxmlformats.org/officeDocument/2006/relationships/image" Target="../media/image25.png"/><Relationship Id="rId10" Type="http://schemas.openxmlformats.org/officeDocument/2006/relationships/image" Target="../media/image12.svg"/><Relationship Id="rId4" Type="http://schemas.openxmlformats.org/officeDocument/2006/relationships/image" Target="../media/image36.emf"/><Relationship Id="rId9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8.bin"/><Relationship Id="rId7" Type="http://schemas.openxmlformats.org/officeDocument/2006/relationships/slide" Target="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41.png"/><Relationship Id="rId5" Type="http://schemas.openxmlformats.org/officeDocument/2006/relationships/image" Target="../media/image25.png"/><Relationship Id="rId4" Type="http://schemas.openxmlformats.org/officeDocument/2006/relationships/image" Target="../media/image39.emf"/><Relationship Id="rId9" Type="http://schemas.openxmlformats.org/officeDocument/2006/relationships/image" Target="../media/image12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slide" Target="slide8.xml"/><Relationship Id="rId5" Type="http://schemas.openxmlformats.org/officeDocument/2006/relationships/image" Target="../media/image27.jpg"/><Relationship Id="rId4" Type="http://schemas.openxmlformats.org/officeDocument/2006/relationships/image" Target="../media/image2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10" Type="http://schemas.openxmlformats.org/officeDocument/2006/relationships/image" Target="../media/image12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0.png"/><Relationship Id="rId18" Type="http://schemas.openxmlformats.org/officeDocument/2006/relationships/image" Target="../media/image1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5.png"/><Relationship Id="rId12" Type="http://schemas.openxmlformats.org/officeDocument/2006/relationships/customXml" Target="../ink/ink5.xml"/><Relationship Id="rId17" Type="http://schemas.openxmlformats.org/officeDocument/2006/relationships/slide" Target="slide8.xml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44.png"/><Relationship Id="rId1" Type="http://schemas.openxmlformats.org/officeDocument/2006/relationships/tags" Target="../tags/tag21.xml"/><Relationship Id="rId6" Type="http://schemas.openxmlformats.org/officeDocument/2006/relationships/image" Target="../media/image43.png"/><Relationship Id="rId11" Type="http://schemas.openxmlformats.org/officeDocument/2006/relationships/image" Target="../media/image49.png"/><Relationship Id="rId5" Type="http://schemas.openxmlformats.org/officeDocument/2006/relationships/image" Target="../media/image42.emf"/><Relationship Id="rId15" Type="http://schemas.openxmlformats.org/officeDocument/2006/relationships/image" Target="../media/image51.png"/><Relationship Id="rId10" Type="http://schemas.openxmlformats.org/officeDocument/2006/relationships/customXml" Target="../ink/ink4.xml"/><Relationship Id="rId19" Type="http://schemas.openxmlformats.org/officeDocument/2006/relationships/image" Target="../media/image12.sv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customXml" Target="../ink/ink10.xml"/><Relationship Id="rId18" Type="http://schemas.openxmlformats.org/officeDocument/2006/relationships/image" Target="../media/image58.png"/><Relationship Id="rId3" Type="http://schemas.openxmlformats.org/officeDocument/2006/relationships/oleObject" Target="../embeddings/oleObject21.bin"/><Relationship Id="rId21" Type="http://schemas.openxmlformats.org/officeDocument/2006/relationships/slide" Target="slide8.xml"/><Relationship Id="rId7" Type="http://schemas.openxmlformats.org/officeDocument/2006/relationships/image" Target="../media/image54.png"/><Relationship Id="rId12" Type="http://schemas.openxmlformats.org/officeDocument/2006/relationships/customXml" Target="../ink/ink9.xml"/><Relationship Id="rId17" Type="http://schemas.openxmlformats.org/officeDocument/2006/relationships/customXml" Target="../ink/ink12.xml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57.png"/><Relationship Id="rId20" Type="http://schemas.openxmlformats.org/officeDocument/2006/relationships/image" Target="../media/image59.png"/><Relationship Id="rId1" Type="http://schemas.openxmlformats.org/officeDocument/2006/relationships/tags" Target="../tags/tag22.xml"/><Relationship Id="rId6" Type="http://schemas.openxmlformats.org/officeDocument/2006/relationships/customXml" Target="../ink/ink6.xml"/><Relationship Id="rId11" Type="http://schemas.openxmlformats.org/officeDocument/2006/relationships/customXml" Target="../ink/ink8.xml"/><Relationship Id="rId5" Type="http://schemas.openxmlformats.org/officeDocument/2006/relationships/image" Target="../media/image25.png"/><Relationship Id="rId15" Type="http://schemas.openxmlformats.org/officeDocument/2006/relationships/customXml" Target="../ink/ink11.xml"/><Relationship Id="rId23" Type="http://schemas.openxmlformats.org/officeDocument/2006/relationships/image" Target="../media/image12.svg"/><Relationship Id="rId10" Type="http://schemas.openxmlformats.org/officeDocument/2006/relationships/image" Target="../media/image56.png"/><Relationship Id="rId19" Type="http://schemas.openxmlformats.org/officeDocument/2006/relationships/customXml" Target="../ink/ink13.xml"/><Relationship Id="rId4" Type="http://schemas.openxmlformats.org/officeDocument/2006/relationships/image" Target="../media/image45.emf"/><Relationship Id="rId9" Type="http://schemas.openxmlformats.org/officeDocument/2006/relationships/customXml" Target="../ink/ink7.xml"/><Relationship Id="rId14" Type="http://schemas.openxmlformats.org/officeDocument/2006/relationships/slide" Target="slide28.xml"/><Relationship Id="rId22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3.png"/><Relationship Id="rId12" Type="http://schemas.openxmlformats.org/officeDocument/2006/relationships/image" Target="../media/image5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6" Type="http://schemas.openxmlformats.org/officeDocument/2006/relationships/image" Target="../media/image52.png"/><Relationship Id="rId11" Type="http://schemas.openxmlformats.org/officeDocument/2006/relationships/image" Target="../media/image12.svg"/><Relationship Id="rId5" Type="http://schemas.openxmlformats.org/officeDocument/2006/relationships/image" Target="../media/image47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2.bin"/><Relationship Id="rId9" Type="http://schemas.openxmlformats.org/officeDocument/2006/relationships/slide" Target="slide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" Target="slide29.xml"/><Relationship Id="rId3" Type="http://schemas.openxmlformats.org/officeDocument/2006/relationships/oleObject" Target="../embeddings/oleObject23.bin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6" Type="http://schemas.openxmlformats.org/officeDocument/2006/relationships/image" Target="../media/image60.png"/><Relationship Id="rId11" Type="http://schemas.openxmlformats.org/officeDocument/2006/relationships/image" Target="../media/image12.svg"/><Relationship Id="rId5" Type="http://schemas.openxmlformats.org/officeDocument/2006/relationships/image" Target="../media/image25.png"/><Relationship Id="rId10" Type="http://schemas.openxmlformats.org/officeDocument/2006/relationships/image" Target="../media/image11.png"/><Relationship Id="rId4" Type="http://schemas.openxmlformats.org/officeDocument/2006/relationships/image" Target="../media/image56.emf"/><Relationship Id="rId9" Type="http://schemas.openxmlformats.org/officeDocument/2006/relationships/slide" Target="slide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6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6" Type="http://schemas.openxmlformats.org/officeDocument/2006/relationships/image" Target="../media/image25.png"/><Relationship Id="rId11" Type="http://schemas.openxmlformats.org/officeDocument/2006/relationships/image" Target="../media/image12.svg"/><Relationship Id="rId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62.emf"/><Relationship Id="rId9" Type="http://schemas.openxmlformats.org/officeDocument/2006/relationships/slide" Target="slide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oleObject" Target="../embeddings/oleObject25.bin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25.png"/><Relationship Id="rId5" Type="http://schemas.openxmlformats.org/officeDocument/2006/relationships/image" Target="../media/image16.png"/><Relationship Id="rId10" Type="http://schemas.openxmlformats.org/officeDocument/2006/relationships/image" Target="../media/image12.svg"/><Relationship Id="rId4" Type="http://schemas.openxmlformats.org/officeDocument/2006/relationships/image" Target="../media/image62.emf"/><Relationship Id="rId9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oleObject" Target="../embeddings/oleObject26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6" Type="http://schemas.openxmlformats.org/officeDocument/2006/relationships/image" Target="../media/image16.png"/><Relationship Id="rId5" Type="http://schemas.openxmlformats.org/officeDocument/2006/relationships/image" Target="../media/image66.png"/><Relationship Id="rId10" Type="http://schemas.openxmlformats.org/officeDocument/2006/relationships/image" Target="../media/image12.svg"/><Relationship Id="rId4" Type="http://schemas.openxmlformats.org/officeDocument/2006/relationships/image" Target="../media/image62.emf"/><Relationship Id="rId9" Type="http://schemas.openxmlformats.org/officeDocument/2006/relationships/image" Target="../media/image1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slide" Target="slide8.xml"/><Relationship Id="rId5" Type="http://schemas.openxmlformats.org/officeDocument/2006/relationships/image" Target="../media/image27.jpg"/><Relationship Id="rId4" Type="http://schemas.openxmlformats.org/officeDocument/2006/relationships/image" Target="../media/image26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5.png"/><Relationship Id="rId3" Type="http://schemas.openxmlformats.org/officeDocument/2006/relationships/video" Target="../media/media1.mp4"/><Relationship Id="rId7" Type="http://schemas.openxmlformats.org/officeDocument/2006/relationships/video" Target="../media/media3.mp4"/><Relationship Id="rId12" Type="http://schemas.openxmlformats.org/officeDocument/2006/relationships/image" Target="../media/image69.png"/><Relationship Id="rId17" Type="http://schemas.openxmlformats.org/officeDocument/2006/relationships/image" Target="../media/image70.png"/><Relationship Id="rId2" Type="http://schemas.microsoft.com/office/2007/relationships/media" Target="../media/media1.mp4"/><Relationship Id="rId16" Type="http://schemas.openxmlformats.org/officeDocument/2006/relationships/image" Target="../media/image12.svg"/><Relationship Id="rId1" Type="http://schemas.openxmlformats.org/officeDocument/2006/relationships/tags" Target="../tags/tag29.xml"/><Relationship Id="rId6" Type="http://schemas.microsoft.com/office/2007/relationships/media" Target="../media/media3.mp4"/><Relationship Id="rId11" Type="http://schemas.openxmlformats.org/officeDocument/2006/relationships/image" Target="../media/image68.png"/><Relationship Id="rId5" Type="http://schemas.openxmlformats.org/officeDocument/2006/relationships/video" Target="../media/media2.mp4"/><Relationship Id="rId15" Type="http://schemas.openxmlformats.org/officeDocument/2006/relationships/image" Target="../media/image11.png"/><Relationship Id="rId10" Type="http://schemas.openxmlformats.org/officeDocument/2006/relationships/image" Target="../media/image67.emf"/><Relationship Id="rId4" Type="http://schemas.microsoft.com/office/2007/relationships/media" Target="../media/media2.mp4"/><Relationship Id="rId9" Type="http://schemas.openxmlformats.org/officeDocument/2006/relationships/oleObject" Target="../embeddings/oleObject28.bin"/><Relationship Id="rId14" Type="http://schemas.openxmlformats.org/officeDocument/2006/relationships/slide" Target="slide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29.bin"/><Relationship Id="rId7" Type="http://schemas.openxmlformats.org/officeDocument/2006/relationships/slide" Target="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image" Target="../media/image73.png"/><Relationship Id="rId5" Type="http://schemas.openxmlformats.org/officeDocument/2006/relationships/image" Target="../media/image72.tiff"/><Relationship Id="rId4" Type="http://schemas.openxmlformats.org/officeDocument/2006/relationships/image" Target="../media/image71.emf"/><Relationship Id="rId9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10" Type="http://schemas.openxmlformats.org/officeDocument/2006/relationships/image" Target="../media/image12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18.png"/><Relationship Id="rId11" Type="http://schemas.openxmlformats.org/officeDocument/2006/relationships/image" Target="../media/image12.svg"/><Relationship Id="rId5" Type="http://schemas.openxmlformats.org/officeDocument/2006/relationships/image" Target="../media/image17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5.bin"/><Relationship Id="rId9" Type="http://schemas.openxmlformats.org/officeDocument/2006/relationships/slide" Target="slide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10" Type="http://schemas.openxmlformats.org/officeDocument/2006/relationships/image" Target="../media/image12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5.xml"/><Relationship Id="rId7" Type="http://schemas.openxmlformats.org/officeDocument/2006/relationships/slide" Target="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9.jpg"/><Relationship Id="rId11" Type="http://schemas.openxmlformats.org/officeDocument/2006/relationships/image" Target="../media/image10.png"/><Relationship Id="rId5" Type="http://schemas.openxmlformats.org/officeDocument/2006/relationships/image" Target="../media/image8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8.bin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11" Type="http://schemas.openxmlformats.org/officeDocument/2006/relationships/image" Target="../media/image12.svg"/><Relationship Id="rId5" Type="http://schemas.openxmlformats.org/officeDocument/2006/relationships/customXml" Target="../ink/ink1.xml"/><Relationship Id="rId10" Type="http://schemas.openxmlformats.org/officeDocument/2006/relationships/image" Target="../media/image11.png"/><Relationship Id="rId4" Type="http://schemas.openxmlformats.org/officeDocument/2006/relationships/image" Target="../media/image22.emf"/><Relationship Id="rId9" Type="http://schemas.openxmlformats.org/officeDocument/2006/relationships/slide" Target="slide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20.xml"/><Relationship Id="rId13" Type="http://schemas.openxmlformats.org/officeDocument/2006/relationships/slide" Target="slide8.xml"/><Relationship Id="rId3" Type="http://schemas.openxmlformats.org/officeDocument/2006/relationships/oleObject" Target="../embeddings/oleObject9.bin"/><Relationship Id="rId7" Type="http://schemas.openxmlformats.org/officeDocument/2006/relationships/slide" Target="slide15.xml"/><Relationship Id="rId12" Type="http://schemas.openxmlformats.org/officeDocument/2006/relationships/slide" Target="slide24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3.png"/><Relationship Id="rId1" Type="http://schemas.openxmlformats.org/officeDocument/2006/relationships/tags" Target="../tags/tag9.xml"/><Relationship Id="rId6" Type="http://schemas.openxmlformats.org/officeDocument/2006/relationships/slide" Target="slide11.xml"/><Relationship Id="rId11" Type="http://schemas.openxmlformats.org/officeDocument/2006/relationships/slide" Target="slide23.xml"/><Relationship Id="rId5" Type="http://schemas.openxmlformats.org/officeDocument/2006/relationships/slide" Target="slide9.xml"/><Relationship Id="rId15" Type="http://schemas.openxmlformats.org/officeDocument/2006/relationships/image" Target="../media/image12.svg"/><Relationship Id="rId10" Type="http://schemas.openxmlformats.org/officeDocument/2006/relationships/slide" Target="slide22.xml"/><Relationship Id="rId4" Type="http://schemas.openxmlformats.org/officeDocument/2006/relationships/image" Target="../media/image23.emf"/><Relationship Id="rId9" Type="http://schemas.openxmlformats.org/officeDocument/2006/relationships/slide" Target="slide21.xml"/><Relationship Id="rId1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13" Type="http://schemas.openxmlformats.org/officeDocument/2006/relationships/image" Target="../media/image1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12" Type="http://schemas.openxmlformats.org/officeDocument/2006/relationships/slide" Target="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24.png"/><Relationship Id="rId11" Type="http://schemas.openxmlformats.org/officeDocument/2006/relationships/image" Target="../media/image28.png"/><Relationship Id="rId5" Type="http://schemas.openxmlformats.org/officeDocument/2006/relationships/image" Target="../media/image22.emf"/><Relationship Id="rId10" Type="http://schemas.openxmlformats.org/officeDocument/2006/relationships/customXml" Target="../ink/ink3.xml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C567BE3-A5BE-3421-32AC-F50ED8298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387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567BE3-A5BE-3421-32AC-F50ED8298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platzhalter 18" descr="Ein Bild, das Gebäude, Stadt, Schloss, Turm enthält.&#10;&#10;Automatisch generierte Beschreibung">
            <a:extLst>
              <a:ext uri="{FF2B5EF4-FFF2-40B4-BE49-F238E27FC236}">
                <a16:creationId xmlns:a16="http://schemas.microsoft.com/office/drawing/2014/main" id="{882FF669-564A-4497-A386-BA8B28F256B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1" b="461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C1FB292-90C1-439C-8480-EB4116CF23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988000"/>
            <a:ext cx="8752114" cy="3287385"/>
          </a:xfrm>
        </p:spPr>
        <p:txBody>
          <a:bodyPr vert="horz"/>
          <a:lstStyle/>
          <a:p>
            <a:r>
              <a:rPr lang="en-US" dirty="0"/>
              <a:t>Efficient volatile exchange between atmosphere and magma ocean</a:t>
            </a:r>
            <a:br>
              <a:rPr lang="en-US" dirty="0"/>
            </a:b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171C1F6-869F-40B1-8975-92FF2042F4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8563" y="3643999"/>
            <a:ext cx="7352052" cy="1862497"/>
          </a:xfrm>
        </p:spPr>
        <p:txBody>
          <a:bodyPr/>
          <a:lstStyle/>
          <a:p>
            <a:r>
              <a:rPr lang="en-GB" sz="2400" b="1" dirty="0" err="1"/>
              <a:t>Xuecheng</a:t>
            </a:r>
            <a:r>
              <a:rPr lang="en-GB" sz="2400" b="1" dirty="0"/>
              <a:t> Yang</a:t>
            </a:r>
            <a:r>
              <a:rPr lang="en-GB" sz="2400" b="1" baseline="30000" dirty="0"/>
              <a:t>1*</a:t>
            </a:r>
            <a:r>
              <a:rPr lang="en-GB" sz="2400" b="1" dirty="0"/>
              <a:t>, Cédric Gillmann</a:t>
            </a:r>
            <a:r>
              <a:rPr lang="en-GB" sz="2400" b="1" baseline="30000" dirty="0"/>
              <a:t>1</a:t>
            </a:r>
            <a:r>
              <a:rPr lang="en-GB" sz="2400" b="1" dirty="0"/>
              <a:t>, Paul Tackley</a:t>
            </a:r>
            <a:r>
              <a:rPr lang="en-GB" sz="2400" b="1" baseline="30000" dirty="0"/>
              <a:t>1</a:t>
            </a:r>
          </a:p>
          <a:p>
            <a:r>
              <a:rPr lang="en-GB" sz="2000" baseline="30000" dirty="0"/>
              <a:t>1</a:t>
            </a:r>
            <a:r>
              <a:rPr lang="en-GB" sz="2000" dirty="0"/>
              <a:t> Institute of Geophysics, ETH Zürich</a:t>
            </a:r>
          </a:p>
          <a:p>
            <a:r>
              <a:rPr lang="en-GB" sz="2000" b="1" dirty="0"/>
              <a:t>* </a:t>
            </a:r>
            <a:r>
              <a:rPr lang="en-GB" sz="2000" b="1" dirty="0" err="1"/>
              <a:t>xuecheng.yang@eaps.ethz.ch</a:t>
            </a:r>
            <a:br>
              <a:rPr lang="en-GB" sz="2000" b="1" dirty="0"/>
            </a:br>
            <a:br>
              <a:rPr lang="en-GB" sz="2000" b="1" dirty="0"/>
            </a:br>
            <a:r>
              <a:rPr lang="en-GB" sz="1600" b="1" dirty="0"/>
              <a:t>EGU 2026</a:t>
            </a:r>
          </a:p>
          <a:p>
            <a:endParaRPr lang="en-GB" sz="2000" b="1" dirty="0"/>
          </a:p>
        </p:txBody>
      </p:sp>
      <p:pic>
        <p:nvPicPr>
          <p:cNvPr id="12" name="Picture 11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FFE5E648-16C5-43EB-285C-309926C8FD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6000" y="0"/>
            <a:ext cx="1016000" cy="1016000"/>
          </a:xfrm>
          <a:prstGeom prst="rect">
            <a:avLst/>
          </a:prstGeom>
        </p:spPr>
      </p:pic>
      <p:sp>
        <p:nvSpPr>
          <p:cNvPr id="16" name="Action Button: Forward or Next 15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52456352-A737-B3FD-6B06-72A77D4771BA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Action Button: Back or Previous 16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BF37A338-06E2-6D67-82C6-0D7B819AEE2F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Graphic 17">
            <a:hlinkClick r:id="rId7" action="ppaction://hlinksldjump"/>
            <a:extLst>
              <a:ext uri="{FF2B5EF4-FFF2-40B4-BE49-F238E27FC236}">
                <a16:creationId xmlns:a16="http://schemas.microsoft.com/office/drawing/2014/main" id="{FE492754-6508-DB85-B6A0-42B21B0A24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  <p:pic>
        <p:nvPicPr>
          <p:cNvPr id="20" name="Picture 19" descr="A blue sign with yellow text&#10;&#10;AI-generated content may be incorrect.">
            <a:extLst>
              <a:ext uri="{FF2B5EF4-FFF2-40B4-BE49-F238E27FC236}">
                <a16:creationId xmlns:a16="http://schemas.microsoft.com/office/drawing/2014/main" id="{EA6F089A-8BB0-BA50-CCC3-8462911AB53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8482" y="0"/>
            <a:ext cx="870023" cy="1158240"/>
          </a:xfrm>
          <a:prstGeom prst="rect">
            <a:avLst/>
          </a:prstGeom>
        </p:spPr>
      </p:pic>
      <p:pic>
        <p:nvPicPr>
          <p:cNvPr id="21" name="Picture 20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FA8B775C-A3BA-2581-EBE1-4D29280C05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4162" y="0"/>
            <a:ext cx="101600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1688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83D162-7E1E-B9EE-BE5B-5BDEB29E0B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7AA005B-08A6-B678-8F54-C593EBAB5C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8609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4AD9EC-DE1D-DBEA-DF26-58ED5BC366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platzhalter 14" descr="Ein Bild, das draußen, Natur, Schnee, Wasser enthält.&#10;&#10;Automatisch generierte Beschreibung">
            <a:extLst>
              <a:ext uri="{FF2B5EF4-FFF2-40B4-BE49-F238E27FC236}">
                <a16:creationId xmlns:a16="http://schemas.microsoft.com/office/drawing/2014/main" id="{F0B2795B-FD2E-1772-C709-58159126D97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" r="269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419CE548-22E5-B6F8-A162-3233A88BCE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57397" y="2957494"/>
            <a:ext cx="7834604" cy="1577184"/>
          </a:xfr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/>
          <a:lstStyle/>
          <a:p>
            <a:r>
              <a:rPr lang="en-GB" dirty="0"/>
              <a:t>Salvador (2023) &amp; </a:t>
            </a:r>
            <a:r>
              <a:rPr lang="en-GB" dirty="0" err="1"/>
              <a:t>Walbecq</a:t>
            </a:r>
            <a:r>
              <a:rPr lang="en-GB" dirty="0"/>
              <a:t> (2025) models</a:t>
            </a:r>
            <a:br>
              <a:rPr lang="de-DE" dirty="0"/>
            </a:br>
            <a:endParaRPr lang="de-DE" dirty="0"/>
          </a:p>
        </p:txBody>
      </p:sp>
      <p:sp>
        <p:nvSpPr>
          <p:cNvPr id="16" name="Action Button: Forward or Next 15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43D257B6-68A2-305F-1CAE-AC905BA44698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Action Button: Back or Previous 16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0E49BEC8-318D-C9F9-94FB-602F6EE27642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Graphic 17">
            <a:hlinkClick r:id="rId6" action="ppaction://hlinksldjump"/>
            <a:extLst>
              <a:ext uri="{FF2B5EF4-FFF2-40B4-BE49-F238E27FC236}">
                <a16:creationId xmlns:a16="http://schemas.microsoft.com/office/drawing/2014/main" id="{AA8A7C22-F922-EBDC-566A-A6F44E8493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9188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946A0C0-49EC-0D32-0607-9DBA04F71E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56121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6B6440-4459-38B7-4A0C-9691CB7FB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683" y="83306"/>
            <a:ext cx="10728325" cy="900000"/>
          </a:xfrm>
        </p:spPr>
        <p:txBody>
          <a:bodyPr vert="horz"/>
          <a:lstStyle/>
          <a:p>
            <a:r>
              <a:rPr lang="en-GB" sz="2800" dirty="0"/>
              <a:t>Salvador (2023, Icarus) &amp; </a:t>
            </a:r>
            <a:r>
              <a:rPr lang="en-GB" sz="2800" dirty="0" err="1"/>
              <a:t>Walbecq</a:t>
            </a:r>
            <a:r>
              <a:rPr lang="en-GB" sz="2800" dirty="0"/>
              <a:t> (2025, Icarus) models</a:t>
            </a:r>
            <a:br>
              <a:rPr lang="en-GB" sz="2800" dirty="0"/>
            </a:b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D272C0-E0D7-4AE4-D284-E5486B5277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A2FC3B-40A2-A5F8-F46E-BC7B0A299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1</a:t>
            </a:fld>
            <a:endParaRPr lang="de-CH" noProof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5143363-932F-927C-DF4B-EC693B7EA56D}"/>
              </a:ext>
            </a:extLst>
          </p:cNvPr>
          <p:cNvSpPr txBox="1">
            <a:spLocks/>
          </p:cNvSpPr>
          <p:nvPr/>
        </p:nvSpPr>
        <p:spPr>
          <a:xfrm>
            <a:off x="51367" y="983306"/>
            <a:ext cx="10728325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39750" indent="-539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795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12900" indent="-533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265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24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GB" sz="2400" dirty="0"/>
              <a:t>Simulation of turbulent thermal convection + passive </a:t>
            </a:r>
            <a:r>
              <a:rPr lang="en-GB" sz="2400" dirty="0" err="1"/>
              <a:t>Lagrangian</a:t>
            </a:r>
            <a:r>
              <a:rPr lang="en-GB" sz="2400" dirty="0"/>
              <a:t> tracers</a:t>
            </a:r>
          </a:p>
          <a:p>
            <a:pPr marL="285750" indent="-285750">
              <a:buFontTx/>
              <a:buChar char="-"/>
            </a:pPr>
            <a:r>
              <a:rPr lang="en-GB" sz="2400" dirty="0"/>
              <a:t>=&gt; “Outgassing” rate can be described as:</a:t>
            </a:r>
          </a:p>
          <a:p>
            <a:pPr marL="285750" indent="-285750">
              <a:buFontTx/>
              <a:buChar char="-"/>
            </a:pPr>
            <a:endParaRPr lang="en-GB" dirty="0"/>
          </a:p>
          <a:p>
            <a:pPr marL="285750" indent="-285750">
              <a:buFontTx/>
              <a:buChar char="-"/>
            </a:pPr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66006794-F5F2-C5F3-D190-50F2DF6388AA}"/>
              </a:ext>
            </a:extLst>
          </p:cNvPr>
          <p:cNvSpPr txBox="1">
            <a:spLocks/>
          </p:cNvSpPr>
          <p:nvPr/>
        </p:nvSpPr>
        <p:spPr>
          <a:xfrm>
            <a:off x="10473692" y="6522444"/>
            <a:ext cx="612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61D6AC-3BAC-4A50-9479-1E7CD895A648}" type="datetime1">
              <a:rPr lang="de-CH" smtClean="0"/>
              <a:pPr/>
              <a:t>04.05.26</a:t>
            </a:fld>
            <a:endParaRPr lang="de-CH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B97E7CE-C5B4-5DBF-0A78-A79825BC7952}"/>
              </a:ext>
            </a:extLst>
          </p:cNvPr>
          <p:cNvSpPr txBox="1">
            <a:spLocks/>
          </p:cNvSpPr>
          <p:nvPr/>
        </p:nvSpPr>
        <p:spPr>
          <a:xfrm>
            <a:off x="11137585" y="6522444"/>
            <a:ext cx="32257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CA52AF-F19D-405C-AD5F-7D94B96A5CC3}" type="slidenum">
              <a:rPr lang="de-CH" smtClean="0"/>
              <a:pPr/>
              <a:t>11</a:t>
            </a:fld>
            <a:endParaRPr lang="de-CH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1FA8BB9-076C-9DE4-51FB-50DD0F059A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322" y="2062697"/>
            <a:ext cx="10520263" cy="2254940"/>
          </a:xfrm>
          <a:prstGeom prst="rect">
            <a:avLst/>
          </a:prstGeom>
        </p:spPr>
      </p:pic>
      <p:pic>
        <p:nvPicPr>
          <p:cNvPr id="14" name="Picture 13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FC84DB07-CA07-90A4-D516-76165279A4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pic>
        <p:nvPicPr>
          <p:cNvPr id="15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1C559F56-696D-14B7-7F22-76EA66065F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sp>
        <p:nvSpPr>
          <p:cNvPr id="16" name="Action Button: Forward or Next 15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CDE0D112-E49F-8574-AC76-FC5C2F963305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Action Button: Back or Previous 16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C8EC8D2A-6372-0528-115A-E8DD0FF1C9B0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Graphic 17">
            <a:hlinkClick r:id="rId9" action="ppaction://hlinksldjump"/>
            <a:extLst>
              <a:ext uri="{FF2B5EF4-FFF2-40B4-BE49-F238E27FC236}">
                <a16:creationId xmlns:a16="http://schemas.microsoft.com/office/drawing/2014/main" id="{1DBB74EE-B39F-938F-4AED-BEA596B2185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20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B0F81CB-059C-E3DD-38B0-960674DEF5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3231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2E1B5-5D34-0078-445B-6B5089A6C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7" y="0"/>
            <a:ext cx="10728325" cy="900000"/>
          </a:xfrm>
        </p:spPr>
        <p:txBody>
          <a:bodyPr vert="horz"/>
          <a:lstStyle/>
          <a:p>
            <a:r>
              <a:rPr lang="en-GB" sz="3200" dirty="0"/>
              <a:t>Problems with W25 empirical models: </a:t>
            </a:r>
            <a:br>
              <a:rPr lang="en-GB" sz="3200" dirty="0"/>
            </a:br>
            <a:r>
              <a:rPr lang="en-GB" sz="3200" dirty="0"/>
              <a:t>(Non-)Constant pre-factor</a:t>
            </a:r>
          </a:p>
        </p:txBody>
      </p:sp>
      <p:pic>
        <p:nvPicPr>
          <p:cNvPr id="27" name="Content Placeholder 26">
            <a:extLst>
              <a:ext uri="{FF2B5EF4-FFF2-40B4-BE49-F238E27FC236}">
                <a16:creationId xmlns:a16="http://schemas.microsoft.com/office/drawing/2014/main" id="{EEA2A28D-3420-C099-B795-41356DC7AD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2654418" y="1005506"/>
            <a:ext cx="5990382" cy="5231169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A3D607-3EE3-063C-F8B6-FB4684C275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F49D12-043E-7392-A6E7-863BCC82E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2</a:t>
            </a:fld>
            <a:endParaRPr lang="de-CH" noProof="0"/>
          </a:p>
        </p:txBody>
      </p:sp>
      <p:pic>
        <p:nvPicPr>
          <p:cNvPr id="31" name="Picture 30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537A62FA-CB4F-27ED-B42B-8481D1FFCC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F8DEFCA-699B-8035-67D7-6AF4569DA899}"/>
              </a:ext>
            </a:extLst>
          </p:cNvPr>
          <p:cNvSpPr txBox="1"/>
          <p:nvPr/>
        </p:nvSpPr>
        <p:spPr>
          <a:xfrm>
            <a:off x="8149663" y="5867343"/>
            <a:ext cx="2324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From W25</a:t>
            </a:r>
          </a:p>
        </p:txBody>
      </p:sp>
      <p:pic>
        <p:nvPicPr>
          <p:cNvPr id="34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86B4BD56-AE48-7127-B425-F24CB9CA6A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sp>
        <p:nvSpPr>
          <p:cNvPr id="39" name="Action Button: Forward or Next 38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F4F42B39-E99E-6919-B256-2C0E7A8ADC38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0" name="Action Button: Back or Previous 39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3E82D0FB-BA40-ECD3-C9A4-7881D8CF5041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1" name="Graphic 40">
            <a:hlinkClick r:id="rId8" action="ppaction://hlinksldjump"/>
            <a:extLst>
              <a:ext uri="{FF2B5EF4-FFF2-40B4-BE49-F238E27FC236}">
                <a16:creationId xmlns:a16="http://schemas.microsoft.com/office/drawing/2014/main" id="{A7C2A800-B3C3-6B87-91D7-ED603D0A73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099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2D2E7A-18A2-1802-859E-6493519B66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1C6FCD-596A-04E2-A71A-3A74BF77FC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0886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F81CB-059C-E3DD-38B0-960674DEF5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153241-A3C8-F462-723B-41C6E66FDB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7" y="0"/>
            <a:ext cx="10728325" cy="900000"/>
          </a:xfrm>
        </p:spPr>
        <p:txBody>
          <a:bodyPr vert="horz"/>
          <a:lstStyle/>
          <a:p>
            <a:r>
              <a:rPr lang="en-GB" sz="3200" dirty="0"/>
              <a:t>Problems with W25 empirical models: </a:t>
            </a:r>
            <a:br>
              <a:rPr lang="en-GB" sz="3200" dirty="0"/>
            </a:br>
            <a:r>
              <a:rPr lang="en-GB" sz="3200" dirty="0"/>
              <a:t>Limited valid range for exsolution depth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0CE222-A4F1-1715-1311-96708F6A9F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EE0E0-3B00-F585-9A90-BFDC35FE26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3</a:t>
            </a:fld>
            <a:endParaRPr lang="de-CH" noProof="0"/>
          </a:p>
        </p:txBody>
      </p:sp>
      <p:pic>
        <p:nvPicPr>
          <p:cNvPr id="31" name="Picture 30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CE534575-EC46-8CAF-D7A7-D9F5851367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CA7B220-C43E-F4DB-E076-E85F280D5D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7263" y="1132519"/>
            <a:ext cx="7772400" cy="109671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23BAEF2-196D-F543-C4A8-DF76EC83ED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2338" y="1812767"/>
            <a:ext cx="4966884" cy="455140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1C99DCE-AB71-687A-6592-56683CEB8441}"/>
              </a:ext>
            </a:extLst>
          </p:cNvPr>
          <p:cNvSpPr txBox="1"/>
          <p:nvPr/>
        </p:nvSpPr>
        <p:spPr>
          <a:xfrm>
            <a:off x="9009222" y="6025617"/>
            <a:ext cx="2324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From W25</a:t>
            </a:r>
          </a:p>
        </p:txBody>
      </p:sp>
      <p:pic>
        <p:nvPicPr>
          <p:cNvPr id="22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BE396033-3EA0-13C8-69B7-ED3C90DBF8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sp>
        <p:nvSpPr>
          <p:cNvPr id="24" name="Action Button: Forward or Next 23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3EE3571D-78F6-0C73-5355-2F999B28A9BE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Action Button: Back or Previous 24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3371C517-53AE-01D0-B6F2-45232050E35E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Graphic 25">
            <a:hlinkClick r:id="rId9" action="ppaction://hlinksldjump"/>
            <a:extLst>
              <a:ext uri="{FF2B5EF4-FFF2-40B4-BE49-F238E27FC236}">
                <a16:creationId xmlns:a16="http://schemas.microsoft.com/office/drawing/2014/main" id="{44C890A3-E4C6-CCA3-432D-1DD3F80D259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7931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0D8000-C2A6-72F7-EDF4-BEA6DA5488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D4AD9EC-DE1D-DBEA-DF26-58ED5BC366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1540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D48B17-570C-29C0-9F09-3B2F55FAD4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platzhalter 14" descr="Ein Bild, das draußen, Natur, Schnee, Wasser enthält.&#10;&#10;Automatisch generierte Beschreibung">
            <a:extLst>
              <a:ext uri="{FF2B5EF4-FFF2-40B4-BE49-F238E27FC236}">
                <a16:creationId xmlns:a16="http://schemas.microsoft.com/office/drawing/2014/main" id="{24EF0464-8B0A-D7A1-305A-019D4F66448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" r="269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324957F-1935-EA04-6A4E-787953E868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11959" y="2957494"/>
            <a:ext cx="7480041" cy="1577184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/>
          <a:lstStyle/>
          <a:p>
            <a:r>
              <a:rPr lang="de-DE" dirty="0"/>
              <a:t>Theory </a:t>
            </a:r>
            <a:r>
              <a:rPr lang="de-DE" dirty="0" err="1"/>
              <a:t>for</a:t>
            </a:r>
            <a:r>
              <a:rPr lang="de-DE" dirty="0"/>
              <a:t> turbulent </a:t>
            </a:r>
            <a:r>
              <a:rPr lang="de-DE" dirty="0" err="1"/>
              <a:t>transpor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lk</a:t>
            </a:r>
            <a:r>
              <a:rPr lang="de-DE" dirty="0"/>
              <a:t>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implications</a:t>
            </a:r>
            <a:br>
              <a:rPr lang="de-DE" dirty="0"/>
            </a:br>
            <a:endParaRPr lang="de-DE" dirty="0"/>
          </a:p>
        </p:txBody>
      </p:sp>
      <p:sp>
        <p:nvSpPr>
          <p:cNvPr id="16" name="Action Button: Forward or Next 15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B5FAACD6-105B-16F7-F35B-6126FBC74CC4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Action Button: Back or Previous 16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1D550A1E-2353-EDFE-BB4F-F54A1A52A6EB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Graphic 17">
            <a:hlinkClick r:id="rId6" action="ppaction://hlinksldjump"/>
            <a:extLst>
              <a:ext uri="{FF2B5EF4-FFF2-40B4-BE49-F238E27FC236}">
                <a16:creationId xmlns:a16="http://schemas.microsoft.com/office/drawing/2014/main" id="{30DFE995-07DC-03BA-EAF9-6C77BDB954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7281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15C9262-0D75-1C73-7515-3EF521235A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498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2BF7A0-F56E-0F12-786B-CD21E14C83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68" y="83306"/>
            <a:ext cx="12047461" cy="900000"/>
          </a:xfrm>
        </p:spPr>
        <p:txBody>
          <a:bodyPr vert="horz"/>
          <a:lstStyle/>
          <a:p>
            <a:r>
              <a:rPr lang="en-US" sz="3200" dirty="0"/>
              <a:t>Theory for turbulent transport of a passive scalar</a:t>
            </a:r>
            <a:endParaRPr lang="en-GB" sz="2800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F0FE187B-2DA8-0E0F-25E6-6BFEAD8F71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1308464" y="1089025"/>
            <a:ext cx="9307982" cy="467995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8A365A-CA82-3FD3-C9D6-81377D1C0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C71D09-E554-6F80-44B2-3EA3CDBA6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5</a:t>
            </a:fld>
            <a:endParaRPr lang="de-CH" noProof="0"/>
          </a:p>
        </p:txBody>
      </p:sp>
      <p:pic>
        <p:nvPicPr>
          <p:cNvPr id="26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2A6BA57C-BFC5-282B-E602-C84934060B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sp>
        <p:nvSpPr>
          <p:cNvPr id="35" name="Action Button: Forward or Next 34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823875D7-48CF-A993-1A2E-BBD76E0662E6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Action Button: Back or Previous 35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8EB3696E-83FA-CF90-CCAA-97137B533E1F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7" name="Graphic 36">
            <a:hlinkClick r:id="rId8" action="ppaction://hlinksldjump"/>
            <a:extLst>
              <a:ext uri="{FF2B5EF4-FFF2-40B4-BE49-F238E27FC236}">
                <a16:creationId xmlns:a16="http://schemas.microsoft.com/office/drawing/2014/main" id="{4493D030-4AF7-17D8-67C1-595E49814C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4814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10862BB-5251-247D-2C66-8F62380ECA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6810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8C0949-D56D-6895-B18D-2909B56AD5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8B72CE-0073-F7F0-4928-C084A8532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6</a:t>
            </a:fld>
            <a:endParaRPr lang="de-CH" noProof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C6AED98-9DCB-8EC0-97CD-B35A0E5F92DC}"/>
              </a:ext>
            </a:extLst>
          </p:cNvPr>
          <p:cNvSpPr txBox="1">
            <a:spLocks/>
          </p:cNvSpPr>
          <p:nvPr/>
        </p:nvSpPr>
        <p:spPr>
          <a:xfrm>
            <a:off x="51367" y="83306"/>
            <a:ext cx="10728325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dirty="0"/>
              <a:t>Comparis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11880B-501B-08F9-8530-EB683AC15D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7470" y="1396012"/>
            <a:ext cx="11924530" cy="4373762"/>
          </a:xfrm>
          <a:prstGeom prst="rect">
            <a:avLst/>
          </a:prstGeom>
        </p:spPr>
      </p:pic>
      <p:pic>
        <p:nvPicPr>
          <p:cNvPr id="12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22D34845-EDA8-17AA-522E-C94BFB970D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sp>
        <p:nvSpPr>
          <p:cNvPr id="13" name="Action Button: Forward or Next 12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C7C6A647-4DBA-F04F-AC87-110FE7B789EF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Action Button: Back or Previous 13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824AE353-F864-8606-5C3C-4D53C208F072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Graphic 14">
            <a:hlinkClick r:id="rId7" action="ppaction://hlinksldjump"/>
            <a:extLst>
              <a:ext uri="{FF2B5EF4-FFF2-40B4-BE49-F238E27FC236}">
                <a16:creationId xmlns:a16="http://schemas.microsoft.com/office/drawing/2014/main" id="{1E1AD98F-AFD7-9BEF-A92A-A6123440B2F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7593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CB39CE-076E-8229-5DEF-D68C27E35F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2D09949-F2EE-E81A-E911-43E64BA932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0862BB-5251-247D-2C66-8F62380EC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7089D6-CEB4-D824-F120-9CAA784F4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5AEAE-335B-1050-BFE8-345770C7A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7</a:t>
            </a:fld>
            <a:endParaRPr lang="de-CH" noProof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1477FE-5D87-09B3-11A9-5C1D8BF9DA9A}"/>
              </a:ext>
            </a:extLst>
          </p:cNvPr>
          <p:cNvSpPr txBox="1">
            <a:spLocks/>
          </p:cNvSpPr>
          <p:nvPr/>
        </p:nvSpPr>
        <p:spPr>
          <a:xfrm>
            <a:off x="51367" y="83306"/>
            <a:ext cx="10728325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dirty="0"/>
              <a:t>Comparison</a:t>
            </a:r>
          </a:p>
        </p:txBody>
      </p:sp>
      <p:pic>
        <p:nvPicPr>
          <p:cNvPr id="12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6E88A341-2431-76EA-ED78-6F93C01677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pic>
        <p:nvPicPr>
          <p:cNvPr id="3" name="Picture 2" descr="A graph of a graph with numbers and dots&#10;&#10;AI-generated content may be incorrect.">
            <a:extLst>
              <a:ext uri="{FF2B5EF4-FFF2-40B4-BE49-F238E27FC236}">
                <a16:creationId xmlns:a16="http://schemas.microsoft.com/office/drawing/2014/main" id="{3CCE22E0-6937-864C-3185-BA87EEBD14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73569" y="536750"/>
            <a:ext cx="7813191" cy="501083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ontent Placeholder 2">
                <a:extLst>
                  <a:ext uri="{FF2B5EF4-FFF2-40B4-BE49-F238E27FC236}">
                    <a16:creationId xmlns:a16="http://schemas.microsoft.com/office/drawing/2014/main" id="{C6F57727-FFA6-AEA1-0BE4-DE0527E4C8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73569" y="5664984"/>
                <a:ext cx="10728325" cy="468000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539750" indent="-539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079500" indent="-53975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612900" indent="-5334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152650" indent="-53975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692400" indent="-53975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en-GB" sz="2400" dirty="0"/>
                  <a:t>=&gt; Theory provides an expression for the non-consta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r>
                  <a:rPr lang="en-US" sz="2400" dirty="0"/>
                  <a:t> </a:t>
                </a:r>
                <a:endParaRPr lang="en-GB" sz="2400" dirty="0"/>
              </a:p>
            </p:txBody>
          </p:sp>
        </mc:Choice>
        <mc:Fallback xmlns="">
          <p:sp>
            <p:nvSpPr>
              <p:cNvPr id="11" name="Content Placeholder 2">
                <a:extLst>
                  <a:ext uri="{FF2B5EF4-FFF2-40B4-BE49-F238E27FC236}">
                    <a16:creationId xmlns:a16="http://schemas.microsoft.com/office/drawing/2014/main" id="{C6F57727-FFA6-AEA1-0BE4-DE0527E4C8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3569" y="5664984"/>
                <a:ext cx="10728325" cy="4680000"/>
              </a:xfrm>
              <a:prstGeom prst="rect">
                <a:avLst/>
              </a:prstGeom>
              <a:blipFill>
                <a:blip r:embed="rId7"/>
                <a:stretch>
                  <a:fillRect l="-1655" t="-189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Action Button: Forward or Next 12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B6739D15-C71B-1D33-EDE7-B00D0F327E8F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Action Button: Back or Previous 13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67EFCC96-DE0E-3C07-A151-30D70505B1D2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Graphic 14">
            <a:hlinkClick r:id="rId8" action="ppaction://hlinksldjump"/>
            <a:extLst>
              <a:ext uri="{FF2B5EF4-FFF2-40B4-BE49-F238E27FC236}">
                <a16:creationId xmlns:a16="http://schemas.microsoft.com/office/drawing/2014/main" id="{6A6851CB-2A8A-4AD8-1D8D-E7A81FB6D8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333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4977499-F9F6-58D4-DA99-DF350B0290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0418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23F47B-E898-864F-FF43-1C7CC377C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65" y="119556"/>
            <a:ext cx="10728325" cy="900000"/>
          </a:xfrm>
        </p:spPr>
        <p:txBody>
          <a:bodyPr vert="horz"/>
          <a:lstStyle/>
          <a:p>
            <a:r>
              <a:rPr lang="en-GB" sz="3200" dirty="0"/>
              <a:t>Theoretical implicat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3C60F3-C96E-1744-71F7-F8ACF039C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352A26-7B87-0FDB-1ABF-E91315495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8</a:t>
            </a:fld>
            <a:endParaRPr lang="de-CH" noProof="0"/>
          </a:p>
        </p:txBody>
      </p:sp>
      <p:pic>
        <p:nvPicPr>
          <p:cNvPr id="12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5A194A2C-1824-E6AB-EBA4-9968330151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0F36AEA-290C-138F-48D5-CD656A3A22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09" y="1337310"/>
            <a:ext cx="11719334" cy="436626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CAE478-A18D-0AE2-8C5C-8B8EAB9598CA}"/>
              </a:ext>
            </a:extLst>
          </p:cNvPr>
          <p:cNvSpPr txBox="1"/>
          <p:nvPr/>
        </p:nvSpPr>
        <p:spPr>
          <a:xfrm>
            <a:off x="3269863" y="4227124"/>
            <a:ext cx="1984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(Lebrun, 2013, JGR:P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CF9D4D5-A343-ED4A-30B4-373E9CD4EA8C}"/>
              </a:ext>
            </a:extLst>
          </p:cNvPr>
          <p:cNvSpPr txBox="1"/>
          <p:nvPr/>
        </p:nvSpPr>
        <p:spPr>
          <a:xfrm>
            <a:off x="7327556" y="4227124"/>
            <a:ext cx="21130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(Hamano, 2014, Nature)</a:t>
            </a:r>
          </a:p>
        </p:txBody>
      </p:sp>
      <p:sp>
        <p:nvSpPr>
          <p:cNvPr id="18" name="Action Button: Forward or Next 17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753BC704-F628-13C0-2B94-CB76543E9799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Action Button: Back or Previous 18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014580F3-E503-EF8F-9778-AE31224A44E4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Graphic 19">
            <a:hlinkClick r:id="rId7" action="ppaction://hlinksldjump"/>
            <a:extLst>
              <a:ext uri="{FF2B5EF4-FFF2-40B4-BE49-F238E27FC236}">
                <a16:creationId xmlns:a16="http://schemas.microsoft.com/office/drawing/2014/main" id="{8EFA8ED5-9C55-8E96-D28D-709C883CDE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8620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6D48B17-570C-29C0-9F09-3B2F55FAD4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9022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platzhalter 14" descr="Ein Bild, das draußen, Natur, Schnee, Wasser enthält.&#10;&#10;Automatisch generierte Beschreibung">
            <a:extLst>
              <a:ext uri="{FF2B5EF4-FFF2-40B4-BE49-F238E27FC236}">
                <a16:creationId xmlns:a16="http://schemas.microsoft.com/office/drawing/2014/main" id="{603B2668-9584-40DB-BFB6-BB9CF9989EA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" r="269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C75A7EC3-C447-4215-A677-5795387418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4000" y="2957494"/>
            <a:ext cx="5688000" cy="1122137"/>
          </a:xfr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/>
          <a:lstStyle/>
          <a:p>
            <a:r>
              <a:rPr lang="de-DE" dirty="0" err="1"/>
              <a:t>Numerical</a:t>
            </a:r>
            <a:r>
              <a:rPr lang="de-DE" dirty="0"/>
              <a:t> </a:t>
            </a:r>
            <a:r>
              <a:rPr lang="de-DE" dirty="0" err="1"/>
              <a:t>simulation</a:t>
            </a:r>
            <a:endParaRPr lang="de-CH" dirty="0"/>
          </a:p>
        </p:txBody>
      </p:sp>
      <p:sp>
        <p:nvSpPr>
          <p:cNvPr id="16" name="Action Button: Forward or Next 15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328D5DDE-54BE-ADF6-BC6D-94FE27B67198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Action Button: Back or Previous 16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702B6F98-4784-F148-809D-A4BA1C5FB355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Graphic 17">
            <a:hlinkClick r:id="rId6" action="ppaction://hlinksldjump"/>
            <a:extLst>
              <a:ext uri="{FF2B5EF4-FFF2-40B4-BE49-F238E27FC236}">
                <a16:creationId xmlns:a16="http://schemas.microsoft.com/office/drawing/2014/main" id="{37AB4122-717D-223E-316A-38D590E03D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5387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FD5D7-FD08-EEC5-C8FF-B529338F7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1A98DC2-82E0-00F0-30D8-51EC94D554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0478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AF8C92-D2A5-F9E9-5803-AAC322D6D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98F1FFC-8ED9-8CD6-2D30-167C0CE53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94" y="146481"/>
            <a:ext cx="10728325" cy="900000"/>
          </a:xfrm>
        </p:spPr>
        <p:txBody>
          <a:bodyPr vert="horz"/>
          <a:lstStyle/>
          <a:p>
            <a:r>
              <a:rPr lang="en-GB" sz="3200" dirty="0"/>
              <a:t>Coupled atmosphere-m</a:t>
            </a:r>
            <a:r>
              <a:rPr lang="en-GB" sz="3200" noProof="0" dirty="0"/>
              <a:t>agma ocean model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9D346C0-567A-4CCF-42B0-F7D467684D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8B327-839C-4A2D-B2E8-7E49B2F41E4B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DB08256-F707-35BE-561D-89734B188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</a:t>
            </a:fld>
            <a:endParaRPr lang="de-CH" noProof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0271F07-34F2-8C59-AD5E-5BB860D23D5E}"/>
              </a:ext>
            </a:extLst>
          </p:cNvPr>
          <p:cNvSpPr txBox="1"/>
          <p:nvPr/>
        </p:nvSpPr>
        <p:spPr>
          <a:xfrm>
            <a:off x="1438223" y="5925372"/>
            <a:ext cx="6122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From (Lichtenberg </a:t>
            </a:r>
            <a:r>
              <a:rPr lang="en-GB" dirty="0" err="1"/>
              <a:t>et.al</a:t>
            </a:r>
            <a:r>
              <a:rPr lang="en-GB" dirty="0"/>
              <a:t>, 2026, arXiv:2511.16142)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62E7416-67E0-77EB-4508-42BECB52E9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710351"/>
            <a:ext cx="8998951" cy="5229578"/>
          </a:xfrm>
          <a:prstGeom prst="rect">
            <a:avLst/>
          </a:prstGeom>
        </p:spPr>
      </p:pic>
      <p:pic>
        <p:nvPicPr>
          <p:cNvPr id="22" name="Picture 21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8D6C8750-2B00-870A-0148-B37EDC316F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sp>
        <p:nvSpPr>
          <p:cNvPr id="25" name="Action Button: Forward or Next 24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90F9FFAF-A993-BD90-CF16-0020E0EBDF68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Action Button: Back or Previous 25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D3956BAE-0063-900D-1C18-1FBFD50FE43E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8" name="Graphic 27">
            <a:hlinkClick r:id="rId8" action="ppaction://hlinksldjump"/>
            <a:extLst>
              <a:ext uri="{FF2B5EF4-FFF2-40B4-BE49-F238E27FC236}">
                <a16:creationId xmlns:a16="http://schemas.microsoft.com/office/drawing/2014/main" id="{EC6674BD-7493-7C1B-72E8-168029FFB2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1261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C97D10F-5313-ED63-C1C1-3261A9789C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78542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8FC911-DB08-C779-C811-44C88F6148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477" y="709270"/>
            <a:ext cx="10728325" cy="1193800"/>
          </a:xfrm>
        </p:spPr>
        <p:txBody>
          <a:bodyPr/>
          <a:lstStyle/>
          <a:p>
            <a:r>
              <a:rPr lang="en-GB" dirty="0"/>
              <a:t>Run a 2D thermal convection model till statistical steady state using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dalus</a:t>
            </a:r>
            <a:r>
              <a:rPr lang="en-GB" dirty="0"/>
              <a:t> (Burns,2020,PRR)</a:t>
            </a:r>
          </a:p>
          <a:p>
            <a:r>
              <a:rPr lang="en-GB" dirty="0"/>
              <a:t>Initiate an additional passive scalar field at mid-height &amp; continue</a:t>
            </a:r>
          </a:p>
          <a:p>
            <a:pPr marL="285750" indent="-285750">
              <a:buFontTx/>
              <a:buChar char="-"/>
            </a:pPr>
            <a:r>
              <a:rPr lang="en-GB" dirty="0"/>
              <a:t>Governing equations: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1F1E4D-3968-3FDE-9C40-668EC3D7F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BB212A-740A-B13C-62E4-D4D921B82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0</a:t>
            </a:fld>
            <a:endParaRPr lang="de-CH" noProof="0"/>
          </a:p>
        </p:txBody>
      </p:sp>
      <p:pic>
        <p:nvPicPr>
          <p:cNvPr id="17" name="Picture 16" descr="A diagram of a graph&#10;&#10;AI-generated content may be incorrect.">
            <a:extLst>
              <a:ext uri="{FF2B5EF4-FFF2-40B4-BE49-F238E27FC236}">
                <a16:creationId xmlns:a16="http://schemas.microsoft.com/office/drawing/2014/main" id="{92B6342B-F8CB-637D-E412-086DF40838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91" y="3620579"/>
            <a:ext cx="4365011" cy="3117865"/>
          </a:xfrm>
          <a:prstGeom prst="rect">
            <a:avLst/>
          </a:prstGeom>
        </p:spPr>
      </p:pic>
      <p:pic>
        <p:nvPicPr>
          <p:cNvPr id="18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62AC5095-B33F-30C6-12F3-1EF78036DA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355C886-3EA5-F665-93A2-35AB42E9137C}"/>
              </a:ext>
            </a:extLst>
          </p:cNvPr>
          <p:cNvSpPr txBox="1"/>
          <p:nvPr/>
        </p:nvSpPr>
        <p:spPr>
          <a:xfrm>
            <a:off x="0" y="3515852"/>
            <a:ext cx="4000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- Boundary conditions: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B235A3-D573-F01E-96BB-941E2D32270B}"/>
              </a:ext>
            </a:extLst>
          </p:cNvPr>
          <p:cNvSpPr/>
          <p:nvPr/>
        </p:nvSpPr>
        <p:spPr>
          <a:xfrm>
            <a:off x="1485900" y="4286250"/>
            <a:ext cx="3371850" cy="26289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BBDA3A-CE1C-AA1F-F502-B8C30684F2DC}"/>
              </a:ext>
            </a:extLst>
          </p:cNvPr>
          <p:cNvSpPr/>
          <p:nvPr/>
        </p:nvSpPr>
        <p:spPr>
          <a:xfrm>
            <a:off x="1485900" y="5590299"/>
            <a:ext cx="3371850" cy="262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FE68A66-0DA0-5115-11E7-32455429534E}"/>
                  </a:ext>
                </a:extLst>
              </p:cNvPr>
              <p:cNvSpPr txBox="1"/>
              <p:nvPr/>
            </p:nvSpPr>
            <p:spPr>
              <a:xfrm>
                <a:off x="1934527" y="4233029"/>
                <a:ext cx="24745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/>
                  <a:t>No-slip &amp; T=0 &amp; </a:t>
                </a:r>
                <a14:m>
                  <m:oMath xmlns:m="http://schemas.openxmlformats.org/officeDocument/2006/math">
                    <m:r>
                      <a:rPr lang="en-US" b="0" i="1" dirty="0" smtClean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en-GB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=0  </a:t>
                </a:r>
                <a:endParaRPr lang="en-GB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FE68A66-0DA0-5115-11E7-3245542953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4527" y="4233029"/>
                <a:ext cx="2474595" cy="369332"/>
              </a:xfrm>
              <a:prstGeom prst="rect">
                <a:avLst/>
              </a:prstGeom>
              <a:blipFill>
                <a:blip r:embed="rId8"/>
                <a:stretch>
                  <a:fillRect l="-2041" t="-6667" b="-266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B274450D-2939-78CE-9844-707FA61CF134}"/>
                  </a:ext>
                </a:extLst>
              </p:cNvPr>
              <p:cNvSpPr txBox="1"/>
              <p:nvPr/>
            </p:nvSpPr>
            <p:spPr>
              <a:xfrm>
                <a:off x="1780223" y="5545566"/>
                <a:ext cx="615505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dirty="0"/>
                  <a:t>No-slip &amp; T=1 &amp;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dirty="0" smtClean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latin typeface="Cambria Math" panose="02040503050406030204" pitchFamily="18" charset="0"/>
                      </a:rPr>
                      <m:t>d</m:t>
                    </m:r>
                    <m:r>
                      <a:rPr lang="en-US" b="0" i="1" dirty="0" smtClean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latin typeface="Cambria Math" panose="02040503050406030204" pitchFamily="18" charset="0"/>
                      </a:rPr>
                      <m:t>𝑆</m:t>
                    </m:r>
                    <m:r>
                      <a:rPr lang="en-US" b="0" i="1" dirty="0" smtClean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b="0" i="1" dirty="0" smtClean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latin typeface="Cambria Math" panose="02040503050406030204" pitchFamily="18" charset="0"/>
                      </a:rPr>
                      <m:t>𝑑𝑧</m:t>
                    </m:r>
                  </m:oMath>
                </a14:m>
                <a:r>
                  <a:rPr lang="en-GB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=0  </a:t>
                </a:r>
                <a:endParaRPr lang="en-GB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B274450D-2939-78CE-9844-707FA61CF1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80223" y="5545566"/>
                <a:ext cx="6155054" cy="369332"/>
              </a:xfrm>
              <a:prstGeom prst="rect">
                <a:avLst/>
              </a:prstGeom>
              <a:blipFill>
                <a:blip r:embed="rId9"/>
                <a:stretch>
                  <a:fillRect l="-825" t="-6667" b="-266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Box 26">
            <a:extLst>
              <a:ext uri="{FF2B5EF4-FFF2-40B4-BE49-F238E27FC236}">
                <a16:creationId xmlns:a16="http://schemas.microsoft.com/office/drawing/2014/main" id="{0D13051B-4A0F-A59D-A24B-264CE69786B6}"/>
              </a:ext>
            </a:extLst>
          </p:cNvPr>
          <p:cNvSpPr txBox="1"/>
          <p:nvPr/>
        </p:nvSpPr>
        <p:spPr>
          <a:xfrm>
            <a:off x="2909829" y="6091403"/>
            <a:ext cx="1040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eriodic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8C823C14-740B-C469-60B2-1CC08DEC1F3B}"/>
                  </a:ext>
                </a:extLst>
              </p14:cNvPr>
              <p14:cNvContentPartPr/>
              <p14:nvPr/>
            </p14:nvContentPartPr>
            <p14:xfrm>
              <a:off x="1105540" y="5201872"/>
              <a:ext cx="1639448" cy="1107184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8C823C14-740B-C469-60B2-1CC08DEC1F3B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096540" y="5193231"/>
                <a:ext cx="1657088" cy="112482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29" name="Ink 28">
                <a:extLst>
                  <a:ext uri="{FF2B5EF4-FFF2-40B4-BE49-F238E27FC236}">
                    <a16:creationId xmlns:a16="http://schemas.microsoft.com/office/drawing/2014/main" id="{094D55A8-40FC-039E-E17C-978AB5EE38DC}"/>
                  </a:ext>
                </a:extLst>
              </p14:cNvPr>
              <p14:cNvContentPartPr/>
              <p14:nvPr/>
            </p14:nvContentPartPr>
            <p14:xfrm>
              <a:off x="4114800" y="5118480"/>
              <a:ext cx="1310400" cy="1138680"/>
            </p14:xfrm>
          </p:contentPart>
        </mc:Choice>
        <mc:Fallback xmlns="">
          <p:pic>
            <p:nvPicPr>
              <p:cNvPr id="29" name="Ink 28">
                <a:extLst>
                  <a:ext uri="{FF2B5EF4-FFF2-40B4-BE49-F238E27FC236}">
                    <a16:creationId xmlns:a16="http://schemas.microsoft.com/office/drawing/2014/main" id="{094D55A8-40FC-039E-E17C-978AB5EE38DC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105800" y="5109840"/>
                <a:ext cx="1328040" cy="1156320"/>
              </a:xfrm>
              <a:prstGeom prst="rect">
                <a:avLst/>
              </a:prstGeom>
            </p:spPr>
          </p:pic>
        </mc:Fallback>
      </mc:AlternateContent>
      <p:sp>
        <p:nvSpPr>
          <p:cNvPr id="33" name="TextBox 32">
            <a:extLst>
              <a:ext uri="{FF2B5EF4-FFF2-40B4-BE49-F238E27FC236}">
                <a16:creationId xmlns:a16="http://schemas.microsoft.com/office/drawing/2014/main" id="{9B080AA8-7E08-3582-4B06-875765324498}"/>
              </a:ext>
            </a:extLst>
          </p:cNvPr>
          <p:cNvSpPr txBox="1"/>
          <p:nvPr/>
        </p:nvSpPr>
        <p:spPr>
          <a:xfrm>
            <a:off x="6446520" y="3389745"/>
            <a:ext cx="3182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- Example: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46C409B-D624-6D09-C8CB-B50253DED7ED}"/>
              </a:ext>
            </a:extLst>
          </p:cNvPr>
          <p:cNvCxnSpPr>
            <a:cxnSpLocks/>
          </p:cNvCxnSpPr>
          <p:nvPr/>
        </p:nvCxnSpPr>
        <p:spPr>
          <a:xfrm>
            <a:off x="6446520" y="3337560"/>
            <a:ext cx="0" cy="352044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D718AA4-C90F-D23D-7FC0-E022F8493970}"/>
              </a:ext>
            </a:extLst>
          </p:cNvPr>
          <p:cNvCxnSpPr/>
          <p:nvPr/>
        </p:nvCxnSpPr>
        <p:spPr>
          <a:xfrm>
            <a:off x="137477" y="3337560"/>
            <a:ext cx="1205452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4985C81-14C5-3C3D-E949-280C207CDC23}"/>
              </a:ext>
            </a:extLst>
          </p:cNvPr>
          <p:cNvCxnSpPr/>
          <p:nvPr/>
        </p:nvCxnSpPr>
        <p:spPr>
          <a:xfrm>
            <a:off x="0" y="1443990"/>
            <a:ext cx="1205452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41">
            <a:extLst>
              <a:ext uri="{FF2B5EF4-FFF2-40B4-BE49-F238E27FC236}">
                <a16:creationId xmlns:a16="http://schemas.microsoft.com/office/drawing/2014/main" id="{5A2DD04A-6029-B4FE-6FAA-6EC9602CC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475" y="65011"/>
            <a:ext cx="10728325" cy="900000"/>
          </a:xfrm>
        </p:spPr>
        <p:txBody>
          <a:bodyPr vert="horz"/>
          <a:lstStyle/>
          <a:p>
            <a:pPr rtl="0" eaLnBrk="1" latinLnBrk="0" hangingPunct="1"/>
            <a:r>
              <a:rPr lang="en-GB" sz="3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odel setup</a:t>
            </a:r>
            <a:endParaRPr lang="en-US" dirty="0">
              <a:effectLst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1E7CD9E-48F6-05C3-04CD-132CFCF30E36}"/>
                  </a:ext>
                </a:extLst>
              </p:cNvPr>
              <p:cNvSpPr txBox="1"/>
              <p:nvPr/>
            </p:nvSpPr>
            <p:spPr>
              <a:xfrm>
                <a:off x="10248661" y="5344078"/>
                <a:ext cx="22860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000" i="1" dirty="0">
                          <a:latin typeface="Cambria Math" panose="02040503050406030204" pitchFamily="18" charset="0"/>
                        </a:rPr>
                        <m:t>Φ</m:t>
                      </m:r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1E7CD9E-48F6-05C3-04CD-132CFCF30E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48661" y="5344078"/>
                <a:ext cx="228600" cy="246221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4" name="Picture 53">
            <a:extLst>
              <a:ext uri="{FF2B5EF4-FFF2-40B4-BE49-F238E27FC236}">
                <a16:creationId xmlns:a16="http://schemas.microsoft.com/office/drawing/2014/main" id="{E25362B2-550E-FB9D-97CB-234CB4A7E8B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334441" y="1764769"/>
            <a:ext cx="7294751" cy="1475623"/>
          </a:xfrm>
          <a:prstGeom prst="rect">
            <a:avLst/>
          </a:prstGeom>
        </p:spPr>
      </p:pic>
      <p:sp>
        <p:nvSpPr>
          <p:cNvPr id="55" name="Action Button: Forward or Next 54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B143E47F-C660-56E9-AA39-657A9B1D670C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6" name="Action Button: Back or Previous 55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45150263-D8B2-CC67-1167-B9BF38B0A556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7" name="Graphic 56">
            <a:hlinkClick r:id="rId17" action="ppaction://hlinksldjump"/>
            <a:extLst>
              <a:ext uri="{FF2B5EF4-FFF2-40B4-BE49-F238E27FC236}">
                <a16:creationId xmlns:a16="http://schemas.microsoft.com/office/drawing/2014/main" id="{FAD86340-E38D-9E99-C126-9DD085E1D88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277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AEFEBB9-F64A-1627-F772-9D0C28F08A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023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DA258E-8B91-30F2-529C-FFB6840D3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7" y="49399"/>
            <a:ext cx="10728325" cy="900000"/>
          </a:xfrm>
        </p:spPr>
        <p:txBody>
          <a:bodyPr vert="horz"/>
          <a:lstStyle/>
          <a:p>
            <a:r>
              <a:rPr lang="en-GB" sz="3200" dirty="0"/>
              <a:t>Evolution of vertical scalar profi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05FA3-B280-8A80-D921-7C2DB23B39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058F7A-2F08-954E-1507-E8C3CE4ED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1</a:t>
            </a:fld>
            <a:endParaRPr lang="de-CH" noProof="0"/>
          </a:p>
        </p:txBody>
      </p:sp>
      <p:pic>
        <p:nvPicPr>
          <p:cNvPr id="12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05455E7D-7A36-2EFB-398B-B20E97854C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C85BFDA4-FD8C-692E-0E64-ADD331FE1B2F}"/>
                  </a:ext>
                </a:extLst>
              </p14:cNvPr>
              <p14:cNvContentPartPr/>
              <p14:nvPr/>
            </p14:nvContentPartPr>
            <p14:xfrm>
              <a:off x="6411528" y="2755080"/>
              <a:ext cx="360" cy="468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C85BFDA4-FD8C-692E-0E64-ADD331FE1B2F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402528" y="2746080"/>
                <a:ext cx="18000" cy="22320"/>
              </a:xfrm>
              <a:prstGeom prst="rect">
                <a:avLst/>
              </a:prstGeom>
            </p:spPr>
          </p:pic>
        </mc:Fallback>
      </mc:AlternateContent>
      <p:pic>
        <p:nvPicPr>
          <p:cNvPr id="21" name="Picture 20" descr="A graph of a number of colored lines&#10;&#10;AI-generated content may be incorrect.">
            <a:extLst>
              <a:ext uri="{FF2B5EF4-FFF2-40B4-BE49-F238E27FC236}">
                <a16:creationId xmlns:a16="http://schemas.microsoft.com/office/drawing/2014/main" id="{C82D9BE9-C79D-3F31-F95E-91DB3EDF28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273" y="1142257"/>
            <a:ext cx="6653813" cy="5038344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CB611EAE-C3ED-20A6-64A6-F4E66468B534}"/>
                  </a:ext>
                </a:extLst>
              </p14:cNvPr>
              <p14:cNvContentPartPr/>
              <p14:nvPr/>
            </p14:nvContentPartPr>
            <p14:xfrm>
              <a:off x="1763928" y="2288880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CB611EAE-C3ED-20A6-64A6-F4E66468B534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755288" y="2280240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D6CB34BD-479C-84FA-8E4D-53005381E45F}"/>
                  </a:ext>
                </a:extLst>
              </p14:cNvPr>
              <p14:cNvContentPartPr/>
              <p14:nvPr/>
            </p14:nvContentPartPr>
            <p14:xfrm>
              <a:off x="2072448" y="2282400"/>
              <a:ext cx="2520" cy="2520"/>
            </p14:xfrm>
          </p:contentPart>
        </mc:Choice>
        <mc:Fallback xmlns=""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D6CB34BD-479C-84FA-8E4D-53005381E45F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063448" y="2273760"/>
                <a:ext cx="20160" cy="20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4007F776-B024-9E7A-E391-691C7EC7853D}"/>
                  </a:ext>
                </a:extLst>
              </p14:cNvPr>
              <p14:cNvContentPartPr/>
              <p14:nvPr/>
            </p14:nvContentPartPr>
            <p14:xfrm>
              <a:off x="2169288" y="2078280"/>
              <a:ext cx="2520" cy="2520"/>
            </p14:xfrm>
          </p:contentPart>
        </mc:Choice>
        <mc:Fallback xmlns=""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4007F776-B024-9E7A-E391-691C7EC7853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160648" y="2069640"/>
                <a:ext cx="20160" cy="20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33" name="Ink 32">
                <a:extLst>
                  <a:ext uri="{FF2B5EF4-FFF2-40B4-BE49-F238E27FC236}">
                    <a16:creationId xmlns:a16="http://schemas.microsoft.com/office/drawing/2014/main" id="{9EC64468-9DE5-A090-3082-DFDE6E5CFACD}"/>
                  </a:ext>
                </a:extLst>
              </p14:cNvPr>
              <p14:cNvContentPartPr/>
              <p14:nvPr/>
            </p14:nvContentPartPr>
            <p14:xfrm>
              <a:off x="1674648" y="2072160"/>
              <a:ext cx="360" cy="4680"/>
            </p14:xfrm>
          </p:contentPart>
        </mc:Choice>
        <mc:Fallback xmlns="">
          <p:pic>
            <p:nvPicPr>
              <p:cNvPr id="33" name="Ink 32">
                <a:extLst>
                  <a:ext uri="{FF2B5EF4-FFF2-40B4-BE49-F238E27FC236}">
                    <a16:creationId xmlns:a16="http://schemas.microsoft.com/office/drawing/2014/main" id="{9EC64468-9DE5-A090-3082-DFDE6E5CFAC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665648" y="2063160"/>
                <a:ext cx="18000" cy="22320"/>
              </a:xfrm>
              <a:prstGeom prst="rect">
                <a:avLst/>
              </a:prstGeom>
            </p:spPr>
          </p:pic>
        </mc:Fallback>
      </mc:AlternateContent>
      <p:sp>
        <p:nvSpPr>
          <p:cNvPr id="38" name="Content Placeholder 22">
            <a:extLst>
              <a:ext uri="{FF2B5EF4-FFF2-40B4-BE49-F238E27FC236}">
                <a16:creationId xmlns:a16="http://schemas.microsoft.com/office/drawing/2014/main" id="{508E7E89-7E10-99B4-4C80-BE44C2DB6FAA}"/>
              </a:ext>
            </a:extLst>
          </p:cNvPr>
          <p:cNvSpPr txBox="1">
            <a:spLocks/>
          </p:cNvSpPr>
          <p:nvPr/>
        </p:nvSpPr>
        <p:spPr>
          <a:xfrm>
            <a:off x="144612" y="1526760"/>
            <a:ext cx="5379552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39750" indent="-539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795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12900" indent="-533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265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24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/>
              <a:t>- </a:t>
            </a:r>
            <a:r>
              <a:rPr lang="en-GB" sz="2400" dirty="0"/>
              <a:t>Time scale unit = free-fall </a:t>
            </a:r>
            <a:r>
              <a:rPr lang="en-GB" sz="24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(short!) </a:t>
            </a:r>
            <a:r>
              <a:rPr lang="en-GB" sz="2400" dirty="0"/>
              <a:t> </a:t>
            </a:r>
          </a:p>
          <a:p>
            <a:pPr marL="0" indent="0">
              <a:buFont typeface="+mj-lt"/>
              <a:buNone/>
            </a:pPr>
            <a:r>
              <a:rPr lang="en-GB" sz="2400" dirty="0"/>
              <a:t>- Solid curves: The initial central peak flattens almost instantly =&gt; </a:t>
            </a:r>
            <a:r>
              <a:rPr lang="en-GB" sz="2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fficient mixing in the bulk</a:t>
            </a:r>
          </a:p>
          <a:p>
            <a:pPr marL="0" indent="0">
              <a:buFont typeface="+mj-lt"/>
              <a:buNone/>
            </a:pPr>
            <a:r>
              <a:rPr lang="en-GB" sz="2400" dirty="0"/>
              <a:t>- Dashed curves: Rapid formation of a</a:t>
            </a:r>
            <a:r>
              <a:rPr lang="en-GB" sz="2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n-GB" sz="2400" b="1" dirty="0">
                <a:solidFill>
                  <a:schemeClr val="bg2">
                    <a:lumMod val="75000"/>
                  </a:schemeClr>
                </a:solidFill>
              </a:rPr>
              <a:t>chemical boundary layer (CBL)</a:t>
            </a:r>
          </a:p>
          <a:p>
            <a:pPr marL="0" indent="0">
              <a:buNone/>
            </a:pPr>
            <a:r>
              <a:rPr lang="en-GB" sz="2400" dirty="0"/>
              <a:t>- See also </a:t>
            </a:r>
            <a:r>
              <a:rPr lang="en-GB" sz="2400" dirty="0">
                <a:hlinkClick r:id="rId14" action="ppaction://hlinksldjump"/>
              </a:rPr>
              <a:t>videos</a:t>
            </a:r>
            <a:endParaRPr lang="en-GB" sz="2400" dirty="0"/>
          </a:p>
          <a:p>
            <a:pPr marL="285750" indent="-285750">
              <a:buFontTx/>
              <a:buChar char="-"/>
            </a:pPr>
            <a:endParaRPr lang="en-GB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41" name="Ink 40">
                <a:extLst>
                  <a:ext uri="{FF2B5EF4-FFF2-40B4-BE49-F238E27FC236}">
                    <a16:creationId xmlns:a16="http://schemas.microsoft.com/office/drawing/2014/main" id="{06BF9883-1035-D983-8FFA-AF0A1F8FF5A7}"/>
                  </a:ext>
                </a:extLst>
              </p14:cNvPr>
              <p14:cNvContentPartPr/>
              <p14:nvPr/>
            </p14:nvContentPartPr>
            <p14:xfrm>
              <a:off x="5962968" y="1224720"/>
              <a:ext cx="1562400" cy="302040"/>
            </p14:xfrm>
          </p:contentPart>
        </mc:Choice>
        <mc:Fallback xmlns="">
          <p:pic>
            <p:nvPicPr>
              <p:cNvPr id="41" name="Ink 40">
                <a:extLst>
                  <a:ext uri="{FF2B5EF4-FFF2-40B4-BE49-F238E27FC236}">
                    <a16:creationId xmlns:a16="http://schemas.microsoft.com/office/drawing/2014/main" id="{06BF9883-1035-D983-8FFA-AF0A1F8FF5A7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5954328" y="1215720"/>
                <a:ext cx="1580040" cy="319680"/>
              </a:xfrm>
              <a:prstGeom prst="rect">
                <a:avLst/>
              </a:prstGeom>
            </p:spPr>
          </p:pic>
        </mc:Fallback>
      </mc:AlternateContent>
      <p:grpSp>
        <p:nvGrpSpPr>
          <p:cNvPr id="52" name="Group 51">
            <a:extLst>
              <a:ext uri="{FF2B5EF4-FFF2-40B4-BE49-F238E27FC236}">
                <a16:creationId xmlns:a16="http://schemas.microsoft.com/office/drawing/2014/main" id="{40F33F8F-160D-01F3-65AA-F3A2DACE5422}"/>
              </a:ext>
            </a:extLst>
          </p:cNvPr>
          <p:cNvGrpSpPr/>
          <p:nvPr/>
        </p:nvGrpSpPr>
        <p:grpSpPr>
          <a:xfrm>
            <a:off x="4196484" y="1780920"/>
            <a:ext cx="2484324" cy="1954488"/>
            <a:chOff x="4830048" y="1780920"/>
            <a:chExt cx="1850760" cy="2436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F51106F3-1583-1351-339B-B6910288E0BF}"/>
                    </a:ext>
                  </a:extLst>
                </p14:cNvPr>
                <p14:cNvContentPartPr/>
                <p14:nvPr/>
              </p14:nvContentPartPr>
              <p14:xfrm>
                <a:off x="4830048" y="1782360"/>
                <a:ext cx="1641600" cy="243468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F51106F3-1583-1351-339B-B6910288E0BF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4823343" y="1771142"/>
                  <a:ext cx="1654741" cy="2456667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E827920A-94A9-1034-094C-A2D7FF7788E2}"/>
                    </a:ext>
                  </a:extLst>
                </p14:cNvPr>
                <p14:cNvContentPartPr/>
                <p14:nvPr/>
              </p14:nvContentPartPr>
              <p14:xfrm>
                <a:off x="6486768" y="1780920"/>
                <a:ext cx="194040" cy="14472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E827920A-94A9-1034-094C-A2D7FF7788E2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6480068" y="1769719"/>
                  <a:ext cx="207173" cy="166674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53" name="Action Button: Forward or Next 52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E5421897-FF40-6AFF-2743-BDCD967D466A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4" name="Action Button: Back or Previous 53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882678AC-76D8-CA8D-1067-35928AB20833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5" name="Graphic 54">
            <a:hlinkClick r:id="rId21" action="ppaction://hlinksldjump"/>
            <a:extLst>
              <a:ext uri="{FF2B5EF4-FFF2-40B4-BE49-F238E27FC236}">
                <a16:creationId xmlns:a16="http://schemas.microsoft.com/office/drawing/2014/main" id="{2FF1B48C-B217-4A01-9133-04A7FE6A30A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6719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D6BA2FD-284B-10D1-AE6D-F4254CAAC6F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2561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3AF809-2EB1-A0B8-5FFB-176FA8CF0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990" y="119556"/>
            <a:ext cx="10728325" cy="900000"/>
          </a:xfrm>
        </p:spPr>
        <p:txBody>
          <a:bodyPr vert="horz"/>
          <a:lstStyle/>
          <a:p>
            <a:r>
              <a:rPr lang="en-GB" sz="3200" dirty="0"/>
              <a:t>Bulk vs boundary layer transpor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3C0DFF-8EC2-65F5-5E97-842CBA1AC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38EC39-FCDC-4A6C-69ED-82FD58722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2</a:t>
            </a:fld>
            <a:endParaRPr lang="de-CH" noProof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99E4C8-7C95-EAC6-D229-E5DB0FF5A3EF}"/>
              </a:ext>
            </a:extLst>
          </p:cNvPr>
          <p:cNvSpPr txBox="1"/>
          <p:nvPr/>
        </p:nvSpPr>
        <p:spPr>
          <a:xfrm>
            <a:off x="122237" y="838946"/>
            <a:ext cx="3578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he advection-diffusion equation: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C94BA68-D4DE-EEC8-CC35-B82BE83B9133}"/>
              </a:ext>
            </a:extLst>
          </p:cNvPr>
          <p:cNvSpPr/>
          <p:nvPr/>
        </p:nvSpPr>
        <p:spPr>
          <a:xfrm>
            <a:off x="3504756" y="1887521"/>
            <a:ext cx="1228165" cy="322730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dvection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C79BF42D-EFF0-FA50-1457-838BAE2C099D}"/>
              </a:ext>
            </a:extLst>
          </p:cNvPr>
          <p:cNvSpPr/>
          <p:nvPr/>
        </p:nvSpPr>
        <p:spPr>
          <a:xfrm>
            <a:off x="4963756" y="1879097"/>
            <a:ext cx="1228165" cy="32273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iffus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FF14AF2-2F44-9459-168D-297E7575D3E9}"/>
              </a:ext>
            </a:extLst>
          </p:cNvPr>
          <p:cNvSpPr txBox="1"/>
          <p:nvPr/>
        </p:nvSpPr>
        <p:spPr>
          <a:xfrm>
            <a:off x="122236" y="2265997"/>
            <a:ext cx="10433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n the bulk: Velocity could be high =&gt; Advection is </a:t>
            </a:r>
            <a:r>
              <a:rPr lang="en-GB" b="1" u="sng" dirty="0"/>
              <a:t>efficient</a:t>
            </a:r>
            <a:r>
              <a:rPr lang="en-GB" dirty="0"/>
              <a:t> &amp; Diffusion </a:t>
            </a:r>
            <a:r>
              <a:rPr lang="en-GB" b="1" u="sng" dirty="0"/>
              <a:t>can</a:t>
            </a:r>
            <a:r>
              <a:rPr lang="en-GB" dirty="0"/>
              <a:t> be sometimes neglecte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DF57CD1-B625-5CCC-36EC-BC3071CE8AB7}"/>
              </a:ext>
            </a:extLst>
          </p:cNvPr>
          <p:cNvSpPr txBox="1"/>
          <p:nvPr/>
        </p:nvSpPr>
        <p:spPr>
          <a:xfrm>
            <a:off x="122236" y="3519961"/>
            <a:ext cx="11190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n the BL: Velocity drops sharply =&gt; Advection is </a:t>
            </a:r>
            <a:r>
              <a:rPr lang="en-GB" b="1" u="sng" dirty="0"/>
              <a:t>much less efficient</a:t>
            </a:r>
            <a:r>
              <a:rPr lang="en-GB" dirty="0"/>
              <a:t>: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D373CE5-C4B9-B142-7408-3E67424D6A13}"/>
              </a:ext>
            </a:extLst>
          </p:cNvPr>
          <p:cNvSpPr txBox="1"/>
          <p:nvPr/>
        </p:nvSpPr>
        <p:spPr>
          <a:xfrm>
            <a:off x="184990" y="4701855"/>
            <a:ext cx="75072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xtreme case: Advection &amp; diffusion balance =&gt; No Eulerian transport: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82D53A0A-840C-7B9C-50F1-FDFDB5CF8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7687" y="2735748"/>
            <a:ext cx="3343835" cy="622995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6B880F4-4C41-5ED6-BF74-7EE1CA271177}"/>
              </a:ext>
            </a:extLst>
          </p:cNvPr>
          <p:cNvCxnSpPr>
            <a:cxnSpLocks/>
          </p:cNvCxnSpPr>
          <p:nvPr/>
        </p:nvCxnSpPr>
        <p:spPr>
          <a:xfrm>
            <a:off x="5007527" y="2682524"/>
            <a:ext cx="906804" cy="707728"/>
          </a:xfrm>
          <a:prstGeom prst="line">
            <a:avLst/>
          </a:prstGeom>
          <a:ln w="25400">
            <a:solidFill>
              <a:srgbClr val="B735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32A6AD9E-C6B7-236F-2BD6-A461F62BFE60}"/>
              </a:ext>
            </a:extLst>
          </p:cNvPr>
          <p:cNvCxnSpPr>
            <a:cxnSpLocks/>
          </p:cNvCxnSpPr>
          <p:nvPr/>
        </p:nvCxnSpPr>
        <p:spPr>
          <a:xfrm>
            <a:off x="6705296" y="5495072"/>
            <a:ext cx="6183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C016CADA-C176-D1E3-C96F-051195B11BDF}"/>
              </a:ext>
            </a:extLst>
          </p:cNvPr>
          <p:cNvSpPr/>
          <p:nvPr/>
        </p:nvSpPr>
        <p:spPr>
          <a:xfrm>
            <a:off x="7498745" y="5048652"/>
            <a:ext cx="3638840" cy="9144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ontrolled by diffusion</a:t>
            </a:r>
          </a:p>
          <a:p>
            <a:pPr algn="ctr"/>
            <a:r>
              <a:rPr lang="en-GB" dirty="0"/>
              <a:t>=&gt; Bottleneck!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7D3072B-3A7C-1B8B-748F-9EC560891965}"/>
              </a:ext>
            </a:extLst>
          </p:cNvPr>
          <p:cNvCxnSpPr>
            <a:cxnSpLocks/>
          </p:cNvCxnSpPr>
          <p:nvPr/>
        </p:nvCxnSpPr>
        <p:spPr>
          <a:xfrm flipV="1">
            <a:off x="30638" y="2200204"/>
            <a:ext cx="12069764" cy="2573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AD33191-1CBC-878E-B72B-F5CB10E87E95}"/>
              </a:ext>
            </a:extLst>
          </p:cNvPr>
          <p:cNvCxnSpPr>
            <a:cxnSpLocks/>
          </p:cNvCxnSpPr>
          <p:nvPr/>
        </p:nvCxnSpPr>
        <p:spPr>
          <a:xfrm flipV="1">
            <a:off x="0" y="3510061"/>
            <a:ext cx="12192000" cy="2408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67">
            <a:extLst>
              <a:ext uri="{FF2B5EF4-FFF2-40B4-BE49-F238E27FC236}">
                <a16:creationId xmlns:a16="http://schemas.microsoft.com/office/drawing/2014/main" id="{4A1DCAED-C25B-A39F-F631-CFC2149415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7688" y="1249940"/>
            <a:ext cx="3343835" cy="622738"/>
          </a:xfrm>
          <a:prstGeom prst="rect">
            <a:avLst/>
          </a:prstGeom>
        </p:spPr>
      </p:pic>
      <p:pic>
        <p:nvPicPr>
          <p:cNvPr id="69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8978E35D-1ABC-93CF-EA34-F7F85A5FF9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sp>
        <p:nvSpPr>
          <p:cNvPr id="70" name="Action Button: Forward or Next 69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9C77184C-2836-4EB7-4D25-3DF1336BBDA3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1" name="Action Button: Back or Previous 70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C004B470-D768-7CB5-E221-85172968EBB3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2" name="Graphic 71">
            <a:hlinkClick r:id="rId9" action="ppaction://hlinksldjump"/>
            <a:extLst>
              <a:ext uri="{FF2B5EF4-FFF2-40B4-BE49-F238E27FC236}">
                <a16:creationId xmlns:a16="http://schemas.microsoft.com/office/drawing/2014/main" id="{FDA432EE-0578-7CDB-200B-03884F62807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C7B2D7D-31F7-682F-E5C3-1844794F6F55}"/>
              </a:ext>
            </a:extLst>
          </p:cNvPr>
          <p:cNvSpPr txBox="1"/>
          <p:nvPr/>
        </p:nvSpPr>
        <p:spPr>
          <a:xfrm>
            <a:off x="7346613" y="3524039"/>
            <a:ext cx="4340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 Integrated over space =&gt;Total loss rate: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4CE299-B8AB-0F5E-FA11-E13887371A1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73421" y="3946900"/>
            <a:ext cx="2062891" cy="66976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3308C9F-801E-5E4B-0973-876E28EE0F55}"/>
              </a:ext>
            </a:extLst>
          </p:cNvPr>
          <p:cNvCxnSpPr>
            <a:cxnSpLocks/>
          </p:cNvCxnSpPr>
          <p:nvPr/>
        </p:nvCxnSpPr>
        <p:spPr>
          <a:xfrm>
            <a:off x="7488289" y="3519961"/>
            <a:ext cx="0" cy="126493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ular Callout 17">
            <a:extLst>
              <a:ext uri="{FF2B5EF4-FFF2-40B4-BE49-F238E27FC236}">
                <a16:creationId xmlns:a16="http://schemas.microsoft.com/office/drawing/2014/main" id="{0FE0CB42-865B-43E6-BE6C-E3F65FBD26F0}"/>
              </a:ext>
            </a:extLst>
          </p:cNvPr>
          <p:cNvSpPr/>
          <p:nvPr/>
        </p:nvSpPr>
        <p:spPr>
          <a:xfrm>
            <a:off x="10615097" y="3927935"/>
            <a:ext cx="1367552" cy="432639"/>
          </a:xfrm>
          <a:prstGeom prst="wedgeRoundRect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accent5"/>
                </a:solidFill>
              </a:rPr>
              <a:t>Inside BLs!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064385-0C1E-9E33-5BDA-CE9CAFB363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7687" y="3989330"/>
            <a:ext cx="3343835" cy="62299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048C1-1C25-6C76-3F4C-B4C04A63AC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7687" y="5183574"/>
            <a:ext cx="3343835" cy="622995"/>
          </a:xfrm>
          <a:prstGeom prst="rect">
            <a:avLst/>
          </a:prstGeom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C800EDC-E5E1-3FC3-6F0C-2F75C3E041EE}"/>
              </a:ext>
            </a:extLst>
          </p:cNvPr>
          <p:cNvCxnSpPr>
            <a:cxnSpLocks/>
          </p:cNvCxnSpPr>
          <p:nvPr/>
        </p:nvCxnSpPr>
        <p:spPr>
          <a:xfrm>
            <a:off x="2560722" y="5241962"/>
            <a:ext cx="715301" cy="357694"/>
          </a:xfrm>
          <a:prstGeom prst="line">
            <a:avLst/>
          </a:prstGeom>
          <a:ln w="25400">
            <a:solidFill>
              <a:srgbClr val="B735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8980E25D-E8FA-9924-3D2D-B64881EE39BA}"/>
              </a:ext>
            </a:extLst>
          </p:cNvPr>
          <p:cNvCxnSpPr>
            <a:cxnSpLocks/>
          </p:cNvCxnSpPr>
          <p:nvPr/>
        </p:nvCxnSpPr>
        <p:spPr>
          <a:xfrm flipH="1">
            <a:off x="9659961" y="4489260"/>
            <a:ext cx="192956" cy="4801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18330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A31887E-35EC-85CA-151A-B6D0B0591E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211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8978F8F-2B11-905B-5242-1A1D5EF34D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7" y="119556"/>
            <a:ext cx="10728325" cy="452487"/>
          </a:xfrm>
        </p:spPr>
        <p:txBody>
          <a:bodyPr vert="horz"/>
          <a:lstStyle/>
          <a:p>
            <a:r>
              <a:rPr lang="en-GB" sz="3200" dirty="0"/>
              <a:t>Chemical flux across a no-slip boundary (preliminary!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B77975-BEAB-1635-3A41-A510497F2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626" y="915359"/>
            <a:ext cx="11402481" cy="452488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en-GB" sz="2400" dirty="0"/>
              <a:t>Theoretically predicted wall flux for </a:t>
            </a:r>
            <a:r>
              <a:rPr lang="en-GB" sz="2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zero pressure gradient</a:t>
            </a:r>
            <a:r>
              <a:rPr lang="en-GB" sz="2400" dirty="0"/>
              <a:t> boundary layers:</a:t>
            </a:r>
          </a:p>
          <a:p>
            <a:pPr marL="342900" indent="-342900">
              <a:buFontTx/>
              <a:buChar char="-"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CA96F6-937D-1995-F526-979225CA94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FCB2FE-EC0F-7B9A-4E8B-6A5092354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3</a:t>
            </a:fld>
            <a:endParaRPr lang="de-CH" noProof="0"/>
          </a:p>
        </p:txBody>
      </p:sp>
      <p:pic>
        <p:nvPicPr>
          <p:cNvPr id="24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724EB687-9F36-C250-653C-F6634F7775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pic>
        <p:nvPicPr>
          <p:cNvPr id="31" name="Picture 30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77B61878-95B7-CCEF-04E9-D2EB80404D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34118" y="1353692"/>
            <a:ext cx="3838295" cy="726356"/>
          </a:xfrm>
          <a:prstGeom prst="rect">
            <a:avLst/>
          </a:prstGeom>
        </p:spPr>
      </p:pic>
      <p:pic>
        <p:nvPicPr>
          <p:cNvPr id="33" name="Picture 32" descr="A graph of a graph&#10;&#10;AI-generated content may be incorrect.">
            <a:extLst>
              <a:ext uri="{FF2B5EF4-FFF2-40B4-BE49-F238E27FC236}">
                <a16:creationId xmlns:a16="http://schemas.microsoft.com/office/drawing/2014/main" id="{98B16A1D-D297-7801-A7E3-CA31E3A8F6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7087" y="2939290"/>
            <a:ext cx="5276166" cy="3957125"/>
          </a:xfrm>
          <a:prstGeom prst="rect">
            <a:avLst/>
          </a:prstGeom>
        </p:spPr>
      </p:pic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991E3C6-C9FE-FBB4-5C9A-B97E08D9190D}"/>
              </a:ext>
            </a:extLst>
          </p:cNvPr>
          <p:cNvSpPr txBox="1">
            <a:spLocks/>
          </p:cNvSpPr>
          <p:nvPr/>
        </p:nvSpPr>
        <p:spPr>
          <a:xfrm>
            <a:off x="175626" y="2069118"/>
            <a:ext cx="11402481" cy="12441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39750" indent="-539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795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12900" indent="-533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265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24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Tx/>
              <a:buChar char="-"/>
            </a:pPr>
            <a:r>
              <a:rPr lang="en-GB" sz="2400" dirty="0"/>
              <a:t>The chemical flux is </a:t>
            </a:r>
            <a:r>
              <a:rPr lang="en-GB" sz="2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on-zero </a:t>
            </a:r>
          </a:p>
          <a:p>
            <a:pPr marL="342900" indent="-342900">
              <a:buFontTx/>
              <a:buChar char="-"/>
            </a:pPr>
            <a:r>
              <a:rPr lang="en-GB" sz="2400" dirty="0"/>
              <a:t>This formula could only provide a </a:t>
            </a:r>
            <a:r>
              <a:rPr lang="en-GB" sz="2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qualitative</a:t>
            </a:r>
            <a:r>
              <a:rPr lang="en-GB" sz="2400" dirty="0"/>
              <a:t> estimate. Because large scale circulations (LSCs) of convection flows have </a:t>
            </a:r>
            <a:r>
              <a:rPr lang="en-GB" sz="2400" dirty="0">
                <a:hlinkClick r:id="rId8" action="ppaction://hlinksldjump"/>
              </a:rPr>
              <a:t>non-zero pressure gradient</a:t>
            </a:r>
            <a:endParaRPr lang="en-GB" sz="2000" dirty="0"/>
          </a:p>
          <a:p>
            <a:pPr marL="342900" indent="-342900">
              <a:buFontTx/>
              <a:buChar char="-"/>
            </a:pPr>
            <a:endParaRPr lang="en-GB" sz="2400" dirty="0"/>
          </a:p>
        </p:txBody>
      </p:sp>
      <p:sp>
        <p:nvSpPr>
          <p:cNvPr id="34" name="Action Button: Forward or Next 33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C42B95A8-EDB7-3B43-82CE-F45EB38C24D9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5" name="Action Button: Back or Previous 34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67522C16-833C-28E3-12B0-315779EFB15A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6" name="Graphic 35">
            <a:hlinkClick r:id="rId9" action="ppaction://hlinksldjump"/>
            <a:extLst>
              <a:ext uri="{FF2B5EF4-FFF2-40B4-BE49-F238E27FC236}">
                <a16:creationId xmlns:a16="http://schemas.microsoft.com/office/drawing/2014/main" id="{BF7F4979-9B76-E324-B787-367940AA543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0305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0C371-48EF-C416-255C-6E85526315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CCB3596-08D2-9FC3-67FC-BA243183FA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7714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7A667E-E27C-EB5E-8066-E6484BB21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EEC16A-E63E-0C41-C616-8FB01BC62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7" y="83305"/>
            <a:ext cx="10728325" cy="900000"/>
          </a:xfrm>
        </p:spPr>
        <p:txBody>
          <a:bodyPr vert="horz"/>
          <a:lstStyle/>
          <a:p>
            <a:r>
              <a:rPr lang="en-GB" sz="3200" dirty="0"/>
              <a:t>Boundary layers are not real bottlenecks I</a:t>
            </a:r>
            <a:br>
              <a:rPr lang="en-GB" sz="3200" dirty="0"/>
            </a:br>
            <a:r>
              <a:rPr lang="en-GB" sz="2800" dirty="0"/>
              <a:t>Breakdown of “passive particles” approxim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3CBDD5-C4E8-5D65-E132-AF3B2FE869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162FC-E8FF-4D52-8F53-8F2A2A3AD3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1AAA39-37A0-684C-F010-430F0BE75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4</a:t>
            </a:fld>
            <a:endParaRPr lang="de-CH" noProof="0"/>
          </a:p>
        </p:txBody>
      </p:sp>
      <p:pic>
        <p:nvPicPr>
          <p:cNvPr id="33" name="Picture 32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18939717-F04B-35BB-D0C8-859DBFDC60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pic>
        <p:nvPicPr>
          <p:cNvPr id="14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458FF467-0B61-3528-F2F9-191BD66B94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1" name="Content Placeholder 2">
                <a:extLst>
                  <a:ext uri="{FF2B5EF4-FFF2-40B4-BE49-F238E27FC236}">
                    <a16:creationId xmlns:a16="http://schemas.microsoft.com/office/drawing/2014/main" id="{EB8EF887-81DC-2062-4EC9-85FA820AC36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26782" y="1412874"/>
                <a:ext cx="6076056" cy="4680000"/>
              </a:xfrm>
            </p:spPr>
            <p:txBody>
              <a:bodyPr/>
              <a:lstStyle/>
              <a:p>
                <a:r>
                  <a:rPr lang="en-GB" sz="2400" dirty="0"/>
                  <a:t>Critical Weber number (=&gt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en-US" sz="2400" b="0" i="1" smtClean="0">
                        <a:latin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GB" sz="2400" dirty="0"/>
                  <a:t>max. size of volatile parcels)</a:t>
                </a:r>
                <a:br>
                  <a:rPr lang="en-GB" sz="2400" dirty="0"/>
                </a:br>
                <a14:m>
                  <m:oMath xmlns:m="http://schemas.openxmlformats.org/officeDocument/2006/math">
                    <m:r>
                      <a:rPr lang="en-US" sz="2400" i="1">
                        <a:latin typeface="Cambria Math" panose="02040503050406030204" pitchFamily="18" charset="0"/>
                      </a:rPr>
                      <m:t>𝑊𝑒</m:t>
                    </m:r>
                    <m:r>
                      <a:rPr lang="en-US" sz="2400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𝐷𝑦𝑛𝑎𝑚𝑖𝑐𝑎𝑙</m:t>
                        </m:r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𝑝𝑟𝑒𝑠𝑠𝑢𝑟𝑒</m:t>
                        </m:r>
                      </m:num>
                      <m:den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𝑆𝑢𝑟𝑓𝑎𝑐𝑒</m:t>
                        </m:r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𝑝𝑟𝑒𝑠𝑠𝑢𝑟𝑒</m:t>
                        </m:r>
                      </m:den>
                    </m:f>
                    <m:r>
                      <a:rPr lang="en-US" sz="2400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𝜌</m:t>
                            </m:r>
                          </m:e>
                          <m:sub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b>
                        </m:sSub>
                        <m:sSubSup>
                          <m:sSubSupPr>
                            <m:ctrlPr>
                              <a:rPr lang="en-US" sz="24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𝑢</m:t>
                            </m:r>
                          </m:e>
                          <m:sub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𝑟𝑚𝑠</m:t>
                            </m:r>
                          </m:sub>
                          <m:sup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num>
                      <m:den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𝛾</m:t>
                        </m:r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2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𝑑</m:t>
                            </m:r>
                          </m:e>
                          <m:sub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sub>
                        </m:sSub>
                      </m:den>
                    </m:f>
                  </m:oMath>
                </a14:m>
                <a:r>
                  <a:rPr lang="en-GB" sz="2400" dirty="0"/>
                  <a:t> </a:t>
                </a:r>
                <a14:m>
                  <m:oMath xmlns:m="http://schemas.openxmlformats.org/officeDocument/2006/math">
                    <m:r>
                      <a:rPr lang="en-US" sz="2400" i="1">
                        <a:latin typeface="Cambria Math" panose="02040503050406030204" pitchFamily="18" charset="0"/>
                      </a:rPr>
                      <m:t>≤</m:t>
                    </m:r>
                    <m:r>
                      <a:rPr lang="en-US" sz="2400" i="1">
                        <a:latin typeface="Cambria Math" panose="02040503050406030204" pitchFamily="18" charset="0"/>
                      </a:rPr>
                      <m:t>𝑊</m:t>
                    </m:r>
                    <m:sSub>
                      <m:sSubPr>
                        <m:ctrlPr>
                          <a:rPr lang="en-US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endParaRPr lang="en-GB" sz="2400" dirty="0"/>
              </a:p>
              <a:p>
                <a:r>
                  <a:rPr lang="en-GB" sz="2400" dirty="0"/>
                  <a:t>Froude number </a:t>
                </a:r>
                <a:br>
                  <a:rPr lang="en-GB" sz="2400" dirty="0"/>
                </a:br>
                <a14:m>
                  <m:oMath xmlns:m="http://schemas.openxmlformats.org/officeDocument/2006/math">
                    <m:r>
                      <a:rPr lang="en-GB" sz="2400" i="1" dirty="0">
                        <a:latin typeface="Cambria Math" panose="02040503050406030204" pitchFamily="18" charset="0"/>
                      </a:rPr>
                      <m:t>𝐹𝑟</m:t>
                    </m:r>
                    <m:r>
                      <a:rPr lang="en-US" sz="2400" b="0" i="1" dirty="0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400" b="0" i="1" dirty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i="1" dirty="0">
                            <a:latin typeface="Cambria Math" panose="02040503050406030204" pitchFamily="18" charset="0"/>
                          </a:rPr>
                          <m:t>𝐷𝑦𝑛𝑎𝑚𝑖𝑐𝑎𝑙</m:t>
                        </m:r>
                        <m:r>
                          <a:rPr lang="en-US" sz="2400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400" b="0" i="1" dirty="0" smtClean="0">
                            <a:latin typeface="Cambria Math" panose="02040503050406030204" pitchFamily="18" charset="0"/>
                          </a:rPr>
                          <m:t>𝑝𝑟𝑒𝑠𝑠𝑢𝑟𝑒</m:t>
                        </m:r>
                      </m:num>
                      <m:den>
                        <m:r>
                          <a:rPr lang="en-US" sz="2400" b="0" i="1" dirty="0" smtClean="0">
                            <a:latin typeface="Cambria Math" panose="02040503050406030204" pitchFamily="18" charset="0"/>
                          </a:rPr>
                          <m:t>𝐵𝑢𝑜𝑦𝑎𝑛𝑐𝑦</m:t>
                        </m:r>
                      </m:den>
                    </m:f>
                    <m:r>
                      <a:rPr lang="en-GB" sz="2400" i="1" dirty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4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sz="24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2400" i="1" dirty="0">
                                <a:latin typeface="Cambria Math" panose="02040503050406030204" pitchFamily="18" charset="0"/>
                              </a:rPr>
                              <m:t>𝑢</m:t>
                            </m:r>
                          </m:e>
                          <m:sub>
                            <m:r>
                              <a:rPr lang="en-US" sz="2400" i="1" dirty="0">
                                <a:latin typeface="Cambria Math" panose="02040503050406030204" pitchFamily="18" charset="0"/>
                              </a:rPr>
                              <m:t>𝑟𝑚𝑠</m:t>
                            </m:r>
                          </m:sub>
                          <m:sup>
                            <m:r>
                              <a:rPr lang="en-US" sz="2400" i="1" dirty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num>
                      <m:den>
                        <m:r>
                          <a:rPr lang="en-US" sz="2400" i="1" dirty="0">
                            <a:latin typeface="Cambria Math" panose="02040503050406030204" pitchFamily="18" charset="0"/>
                          </a:rPr>
                          <m:t>𝑔</m:t>
                        </m:r>
                        <m:sSub>
                          <m:sSubPr>
                            <m:ctrlPr>
                              <a:rPr lang="en-US" sz="24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i="1" dirty="0">
                                <a:latin typeface="Cambria Math" panose="02040503050406030204" pitchFamily="18" charset="0"/>
                              </a:rPr>
                              <m:t>𝑑</m:t>
                            </m:r>
                          </m:e>
                          <m:sub>
                            <m:r>
                              <a:rPr lang="en-US" sz="2400" i="1" dirty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sub>
                        </m:sSub>
                      </m:den>
                    </m:f>
                    <m:r>
                      <a:rPr lang="en-US" sz="2400" b="0" i="1" dirty="0" smtClean="0">
                        <a:latin typeface="Cambria Math" panose="02040503050406030204" pitchFamily="18" charset="0"/>
                      </a:rPr>
                      <m:t>∝</m:t>
                    </m:r>
                  </m:oMath>
                </a14:m>
                <a:r>
                  <a:rPr lang="en-US" sz="2400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sz="2400" i="1" dirty="0" smtClean="0">
                            <a:solidFill>
                              <a:schemeClr val="accent5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2400" b="0" i="1" dirty="0">
                            <a:solidFill>
                              <a:schemeClr val="accent5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sz="2400" b="0" i="1" dirty="0">
                            <a:solidFill>
                              <a:schemeClr val="accent5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𝑟𝑚𝑠</m:t>
                        </m:r>
                      </m:sub>
                      <m:sup>
                        <m:r>
                          <a:rPr lang="en-US" sz="2400" b="0" i="1" dirty="0" smtClean="0">
                            <a:solidFill>
                              <a:schemeClr val="accent5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sup>
                    </m:sSubSup>
                  </m:oMath>
                </a14:m>
                <a:endParaRPr lang="en-GB" sz="2400" dirty="0"/>
              </a:p>
              <a:p>
                <a:r>
                  <a:rPr lang="en-GB" sz="2400" dirty="0"/>
                  <a:t>Inside velocity boundary layer: Root-mean square velocity drops sharply </a:t>
                </a:r>
              </a:p>
              <a:p>
                <a:r>
                  <a:rPr lang="en-GB" sz="2400" dirty="0"/>
                  <a:t>=&gt; Froude number decreases</a:t>
                </a:r>
              </a:p>
              <a:p>
                <a:r>
                  <a:rPr lang="en-GB" sz="2400" dirty="0"/>
                  <a:t>=&gt; </a:t>
                </a:r>
                <a:r>
                  <a:rPr lang="en-GB" sz="2400" b="1" dirty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Buoyancy can no longer be ignored </a:t>
                </a:r>
                <a:r>
                  <a:rPr lang="en-GB" sz="2400" dirty="0"/>
                  <a:t>as volatiles approach the wall </a:t>
                </a:r>
              </a:p>
              <a:p>
                <a:endParaRPr lang="en-GB" sz="2400" dirty="0"/>
              </a:p>
            </p:txBody>
          </p:sp>
        </mc:Choice>
        <mc:Fallback xmlns="">
          <p:sp>
            <p:nvSpPr>
              <p:cNvPr id="21" name="Content Placeholder 2">
                <a:extLst>
                  <a:ext uri="{FF2B5EF4-FFF2-40B4-BE49-F238E27FC236}">
                    <a16:creationId xmlns:a16="http://schemas.microsoft.com/office/drawing/2014/main" id="{EB8EF887-81DC-2062-4EC9-85FA820AC36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26782" y="1412874"/>
                <a:ext cx="6076056" cy="4680000"/>
              </a:xfrm>
              <a:blipFill>
                <a:blip r:embed="rId7"/>
                <a:stretch>
                  <a:fillRect l="-2923" t="-2168" r="-2714" b="-596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9" name="Content Placeholder 9">
            <a:extLst>
              <a:ext uri="{FF2B5EF4-FFF2-40B4-BE49-F238E27FC236}">
                <a16:creationId xmlns:a16="http://schemas.microsoft.com/office/drawing/2014/main" id="{756DDB61-A00F-0EF5-9D87-D5C89653C8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93191" y="2385249"/>
            <a:ext cx="5572027" cy="233259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A8627F7-4693-B6EA-5B86-9C3774195692}"/>
              </a:ext>
            </a:extLst>
          </p:cNvPr>
          <p:cNvCxnSpPr>
            <a:cxnSpLocks/>
          </p:cNvCxnSpPr>
          <p:nvPr/>
        </p:nvCxnSpPr>
        <p:spPr>
          <a:xfrm>
            <a:off x="6446520" y="1142257"/>
            <a:ext cx="0" cy="571574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ction Button: Forward or Next 33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FAFF966D-5EC4-2A98-C15A-EC57CD30681A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5" name="Action Button: Back or Previous 34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F2C77DD9-EC07-7053-22C7-847CCAA79E3E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6" name="Graphic 35">
            <a:hlinkClick r:id="rId9" action="ppaction://hlinksldjump"/>
            <a:extLst>
              <a:ext uri="{FF2B5EF4-FFF2-40B4-BE49-F238E27FC236}">
                <a16:creationId xmlns:a16="http://schemas.microsoft.com/office/drawing/2014/main" id="{55DC1EC0-DD5F-F159-6A2B-5A3987458A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0821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511BEC-E407-C306-7B34-F7DE8ACEAF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E7A667E-E27C-EB5E-8066-E6484BB21E4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386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C86DE4-D544-8567-48EE-098B251B2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38CCC6-8FAA-C35E-5765-EC08C6192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7" y="83305"/>
            <a:ext cx="10728325" cy="900000"/>
          </a:xfrm>
        </p:spPr>
        <p:txBody>
          <a:bodyPr vert="horz"/>
          <a:lstStyle/>
          <a:p>
            <a:r>
              <a:rPr lang="en-GB" sz="3200" dirty="0"/>
              <a:t>Boundary layers are not real bottlenecks II</a:t>
            </a:r>
            <a:br>
              <a:rPr lang="en-GB" sz="3200" dirty="0"/>
            </a:br>
            <a:r>
              <a:rPr lang="en-GB" sz="2800" dirty="0"/>
              <a:t>Transition to turbulent B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E485E8-EA0D-0395-814A-6E107F69B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162FC-E8FF-4D52-8F53-8F2A2A3AD3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5F9044-2182-ECBF-6810-12D6CCD04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5</a:t>
            </a:fld>
            <a:endParaRPr lang="de-CH" noProof="0"/>
          </a:p>
        </p:txBody>
      </p:sp>
      <p:pic>
        <p:nvPicPr>
          <p:cNvPr id="33" name="Picture 32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FC2F0169-E93A-B8A0-2383-1920579E65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pic>
        <p:nvPicPr>
          <p:cNvPr id="14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73BB8671-0327-766F-B3F5-BEBBD865D5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AD3350D-E1F0-9767-739C-2B70006CBD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50962" y="1248825"/>
            <a:ext cx="8983487" cy="436034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CDF626-64AE-ECA6-C4FB-541588EABA58}"/>
              </a:ext>
            </a:extLst>
          </p:cNvPr>
          <p:cNvSpPr txBox="1"/>
          <p:nvPr/>
        </p:nvSpPr>
        <p:spPr>
          <a:xfrm>
            <a:off x="10037946" y="3225813"/>
            <a:ext cx="20061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From Lohse (2024, RMP)</a:t>
            </a:r>
          </a:p>
          <a:p>
            <a:endParaRPr lang="en-GB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39AB4A4-2F2D-FD33-4D61-9F9132AC6A3A}"/>
              </a:ext>
            </a:extLst>
          </p:cNvPr>
          <p:cNvSpPr txBox="1"/>
          <p:nvPr/>
        </p:nvSpPr>
        <p:spPr>
          <a:xfrm>
            <a:off x="1099595" y="5604143"/>
            <a:ext cx="14513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/>
              <a:t>Low Rayleigh number    =&gt;     High Rayleigh number (relevant to early MO)</a:t>
            </a:r>
          </a:p>
        </p:txBody>
      </p:sp>
      <p:sp>
        <p:nvSpPr>
          <p:cNvPr id="21" name="Action Button: Forward or Next 20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5B3DA8C8-1636-F959-1705-88616B689F26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Action Button: Back or Previous 21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F7EB9E7C-B259-F1C4-8C16-5C06D8FB7A14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hlinkClick r:id="rId8" action="ppaction://hlinksldjump"/>
            <a:extLst>
              <a:ext uri="{FF2B5EF4-FFF2-40B4-BE49-F238E27FC236}">
                <a16:creationId xmlns:a16="http://schemas.microsoft.com/office/drawing/2014/main" id="{A8FA3723-6F87-6AD2-C83F-677554530F4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707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5C86DE4-D544-8567-48EE-098B251B2D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76504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C86DE4-D544-8567-48EE-098B251B2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B8FD89-14A0-6C81-AD08-DCDC999DC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7" y="83305"/>
            <a:ext cx="10728325" cy="900000"/>
          </a:xfrm>
        </p:spPr>
        <p:txBody>
          <a:bodyPr vert="horz"/>
          <a:lstStyle/>
          <a:p>
            <a:r>
              <a:rPr lang="en-GB" sz="3200" dirty="0"/>
              <a:t>Boundary layers are not real bottlenecks III</a:t>
            </a:r>
            <a:br>
              <a:rPr lang="en-GB" sz="3200" dirty="0"/>
            </a:br>
            <a:r>
              <a:rPr lang="en-GB" sz="2800" dirty="0"/>
              <a:t>Wall vs. free surfac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314D61-0AD0-192A-7599-5E881BA75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162FC-E8FF-4D52-8F53-8F2A2A3AD3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859B7B-69E4-6BC9-9C31-04E48F6F6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6</a:t>
            </a:fld>
            <a:endParaRPr lang="de-CH" noProof="0"/>
          </a:p>
        </p:txBody>
      </p:sp>
      <p:pic>
        <p:nvPicPr>
          <p:cNvPr id="29" name="Content Placeholder 24">
            <a:extLst>
              <a:ext uri="{FF2B5EF4-FFF2-40B4-BE49-F238E27FC236}">
                <a16:creationId xmlns:a16="http://schemas.microsoft.com/office/drawing/2014/main" id="{1BD5E689-5D10-DC6D-8DC6-AFDB943A60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4772" y="1792273"/>
            <a:ext cx="10570619" cy="3547575"/>
          </a:xfrm>
          <a:prstGeom prst="rect">
            <a:avLst/>
          </a:prstGeom>
        </p:spPr>
      </p:pic>
      <p:pic>
        <p:nvPicPr>
          <p:cNvPr id="33" name="Picture 32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6FF288A7-6A2D-57FC-B182-C1DA34360B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pic>
        <p:nvPicPr>
          <p:cNvPr id="14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63D57C88-8B8C-9E80-2208-B9BD6BA3D3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sp>
        <p:nvSpPr>
          <p:cNvPr id="24" name="Action Button: Forward or Next 23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3A888556-C4AE-3983-DC98-B7B112E7F83D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Action Button: Back or Previous 24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6A329809-A56A-B24D-DF97-45990C6A498A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Graphic 25">
            <a:hlinkClick r:id="rId8" action="ppaction://hlinksldjump"/>
            <a:extLst>
              <a:ext uri="{FF2B5EF4-FFF2-40B4-BE49-F238E27FC236}">
                <a16:creationId xmlns:a16="http://schemas.microsoft.com/office/drawing/2014/main" id="{85F88C41-F640-91E9-C99D-E413657572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2991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5D1DB5-FD1B-51A6-59A7-A632D37264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37D20E3-65DE-BFA8-D57A-A5783DAD06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1948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D48B17-570C-29C0-9F09-3B2F55FAD4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platzhalter 14" descr="Ein Bild, das draußen, Natur, Schnee, Wasser enthält.&#10;&#10;Automatisch generierte Beschreibung">
            <a:extLst>
              <a:ext uri="{FF2B5EF4-FFF2-40B4-BE49-F238E27FC236}">
                <a16:creationId xmlns:a16="http://schemas.microsoft.com/office/drawing/2014/main" id="{13DE9CFF-6281-8453-6F09-84A15A87191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" r="269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A423868-D063-5019-EC9A-FD8D752C66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4000" y="2948163"/>
            <a:ext cx="5688000" cy="1122137"/>
          </a:xfr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/>
          <a:lstStyle/>
          <a:p>
            <a:r>
              <a:rPr lang="de-DE" dirty="0"/>
              <a:t>Bonus </a:t>
            </a:r>
            <a:r>
              <a:rPr lang="de-DE" dirty="0" err="1"/>
              <a:t>slides</a:t>
            </a:r>
            <a:endParaRPr lang="de-CH" dirty="0"/>
          </a:p>
        </p:txBody>
      </p:sp>
      <p:sp>
        <p:nvSpPr>
          <p:cNvPr id="8" name="Action Button: Forward or Next 7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5D8D188C-C29A-B192-9993-A93009E340AE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Action Button: Back or Previous 8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D7E900EE-5E8E-AE26-912A-1F79E8491EC5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Graphic 9">
            <a:hlinkClick r:id="rId6" action="ppaction://hlinksldjump"/>
            <a:extLst>
              <a:ext uri="{FF2B5EF4-FFF2-40B4-BE49-F238E27FC236}">
                <a16:creationId xmlns:a16="http://schemas.microsoft.com/office/drawing/2014/main" id="{6C533067-8F5C-5D3B-6C9A-F3A08C7F06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6202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929E69C-270A-A040-FEAC-322902D6C0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2137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29E69C-270A-A040-FEAC-322902D6C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321610-5B34-12D5-83C3-817731C2C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073" y="90917"/>
            <a:ext cx="10728325" cy="900000"/>
          </a:xfrm>
        </p:spPr>
        <p:txBody>
          <a:bodyPr vert="horz"/>
          <a:lstStyle/>
          <a:p>
            <a:r>
              <a:rPr lang="en-GB" sz="3200"/>
              <a:t>Videos</a:t>
            </a:r>
            <a:endParaRPr lang="en-GB" sz="28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1A0590-FFB7-7AF7-DD09-608945407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162FC-E8FF-4D52-8F53-8F2A2A3AD3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746DD8-E6E4-9A89-4F42-524CB7EBB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8</a:t>
            </a:fld>
            <a:endParaRPr lang="de-CH" noProof="0"/>
          </a:p>
        </p:txBody>
      </p:sp>
      <p:pic>
        <p:nvPicPr>
          <p:cNvPr id="9" name="Movie">
            <a:hlinkClick r:id="" action="ppaction://media"/>
            <a:extLst>
              <a:ext uri="{FF2B5EF4-FFF2-40B4-BE49-F238E27FC236}">
                <a16:creationId xmlns:a16="http://schemas.microsoft.com/office/drawing/2014/main" id="{ECD4937D-D3AD-3561-4CB7-DBAEF2F670AB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376645" y="2236306"/>
            <a:ext cx="3569335" cy="2549525"/>
          </a:xfrm>
          <a:prstGeom prst="rect">
            <a:avLst/>
          </a:prstGeom>
        </p:spPr>
      </p:pic>
      <p:pic>
        <p:nvPicPr>
          <p:cNvPr id="10" name="Movie">
            <a:hlinkClick r:id="" action="ppaction://media"/>
            <a:extLst>
              <a:ext uri="{FF2B5EF4-FFF2-40B4-BE49-F238E27FC236}">
                <a16:creationId xmlns:a16="http://schemas.microsoft.com/office/drawing/2014/main" id="{8C4ACB67-36E6-7585-0DB7-75AA2B9A12DA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8021456" y="2236307"/>
            <a:ext cx="3569334" cy="2549524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93F3BF5-D020-D4B0-8EA2-F2AB1FD37D8C}"/>
              </a:ext>
            </a:extLst>
          </p:cNvPr>
          <p:cNvSpPr txBox="1">
            <a:spLocks/>
          </p:cNvSpPr>
          <p:nvPr/>
        </p:nvSpPr>
        <p:spPr>
          <a:xfrm>
            <a:off x="731837" y="1412875"/>
            <a:ext cx="10728325" cy="570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Ra=1e7, </a:t>
            </a:r>
            <a:r>
              <a:rPr lang="en-GB" sz="2400" dirty="0" err="1"/>
              <a:t>Pr</a:t>
            </a:r>
            <a:r>
              <a:rPr lang="en-GB" sz="2400" dirty="0"/>
              <a:t>=1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EBF508-F0B8-662A-313C-3240AFD1F039}"/>
              </a:ext>
            </a:extLst>
          </p:cNvPr>
          <p:cNvSpPr txBox="1">
            <a:spLocks/>
          </p:cNvSpPr>
          <p:nvPr/>
        </p:nvSpPr>
        <p:spPr>
          <a:xfrm>
            <a:off x="2141948" y="4874217"/>
            <a:ext cx="1018375" cy="570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Sc=1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1D3134B-BA2B-8392-AB95-79C3AE04EB36}"/>
              </a:ext>
            </a:extLst>
          </p:cNvPr>
          <p:cNvSpPr txBox="1">
            <a:spLocks/>
          </p:cNvSpPr>
          <p:nvPr/>
        </p:nvSpPr>
        <p:spPr>
          <a:xfrm>
            <a:off x="6095999" y="4874217"/>
            <a:ext cx="1018375" cy="570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Sc=10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A4781C2-12C3-A8F9-3739-0E864AC55841}"/>
              </a:ext>
            </a:extLst>
          </p:cNvPr>
          <p:cNvSpPr txBox="1">
            <a:spLocks/>
          </p:cNvSpPr>
          <p:nvPr/>
        </p:nvSpPr>
        <p:spPr>
          <a:xfrm>
            <a:off x="9296935" y="4874217"/>
            <a:ext cx="1018375" cy="570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Sc=100</a:t>
            </a:r>
          </a:p>
        </p:txBody>
      </p:sp>
      <p:pic>
        <p:nvPicPr>
          <p:cNvPr id="23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3CE110D3-B300-CB6A-BDF0-E7A4924A16F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p:sp>
        <p:nvSpPr>
          <p:cNvPr id="26" name="Action Button: Forward or Next 25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E10ECF67-0B97-22BE-0699-1705BC19C9F3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Action Button: Back or Previous 26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AA50899C-9241-0172-A90D-A937930E8A7E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8" name="Graphic 27">
            <a:hlinkClick r:id="rId14" action="ppaction://hlinksldjump"/>
            <a:extLst>
              <a:ext uri="{FF2B5EF4-FFF2-40B4-BE49-F238E27FC236}">
                <a16:creationId xmlns:a16="http://schemas.microsoft.com/office/drawing/2014/main" id="{080B5D5E-DE60-DA91-1A33-AB8E6EBD4C1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  <p:pic>
        <p:nvPicPr>
          <p:cNvPr id="8" name="Movie">
            <a:hlinkClick r:id="" action="ppaction://media"/>
            <a:extLst>
              <a:ext uri="{FF2B5EF4-FFF2-40B4-BE49-F238E27FC236}">
                <a16:creationId xmlns:a16="http://schemas.microsoft.com/office/drawing/2014/main" id="{E69BD7FB-D6E8-AF7C-DE31-232E18C68B60}"/>
              </a:ext>
            </a:extLst>
          </p:cNvPr>
          <p:cNvPicPr>
            <a:picLocks noGrp="1" noChangeAspect="1"/>
          </p:cNvPicPr>
          <p:nvPr>
            <p:ph idx="1"/>
            <a:videoFile r:link="rId7"/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7"/>
          <a:stretch>
            <a:fillRect/>
          </a:stretch>
        </p:blipFill>
        <p:spPr>
          <a:xfrm>
            <a:off x="731836" y="2236306"/>
            <a:ext cx="3569333" cy="2549647"/>
          </a:xfrm>
        </p:spPr>
      </p:pic>
    </p:spTree>
    <p:extLst>
      <p:ext uri="{BB962C8B-B14F-4D97-AF65-F5344CB8AC3E}">
        <p14:creationId xmlns:p14="http://schemas.microsoft.com/office/powerpoint/2010/main" val="2257810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759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498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8025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9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video>
              <p:cMediaNode vol="80000">
                <p:cTn id="20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video>
              <p:cMediaNode vol="80000">
                <p:cTn id="21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2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3" fill="hold">
                      <p:stCondLst>
                        <p:cond delay="0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2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2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9" fill="hold">
                      <p:stCondLst>
                        <p:cond delay="0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6F15A76-502A-0F86-C792-B6C233A04F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4646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4FB23-5C82-0FAF-2C2E-1B4FEB3EE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498" y="119556"/>
            <a:ext cx="10728325" cy="900000"/>
          </a:xfrm>
        </p:spPr>
        <p:txBody>
          <a:bodyPr vert="horz"/>
          <a:lstStyle/>
          <a:p>
            <a:r>
              <a:rPr lang="en-GB" dirty="0"/>
              <a:t>Non-zero pressure gradient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E3270E80-D6E3-028F-D1C4-3026C7F27F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4015485" y="2949971"/>
            <a:ext cx="4182324" cy="313674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F55110-63FA-28D6-35C5-BC44F314D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162FC-E8FF-4D52-8F53-8F2A2A3AD3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F47589-BE6C-B9F4-5CD7-2E3F19787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9</a:t>
            </a:fld>
            <a:endParaRPr lang="de-CH" noProof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84249ECC-94C0-C01F-0BFC-4C8E77E600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63236" y="693784"/>
            <a:ext cx="3486823" cy="2225111"/>
          </a:xfrm>
          <a:prstGeom prst="rect">
            <a:avLst/>
          </a:prstGeom>
        </p:spPr>
      </p:pic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FBD0683C-7321-9690-5BA9-3821AD55C6E1}"/>
              </a:ext>
            </a:extLst>
          </p:cNvPr>
          <p:cNvSpPr txBox="1">
            <a:spLocks/>
          </p:cNvSpPr>
          <p:nvPr/>
        </p:nvSpPr>
        <p:spPr>
          <a:xfrm>
            <a:off x="228498" y="693784"/>
            <a:ext cx="3396280" cy="460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400" dirty="0"/>
              <a:t>- Temperature snapshot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03E8810-8EAE-A8D7-6C9F-0C9E3C79C6B6}"/>
              </a:ext>
            </a:extLst>
          </p:cNvPr>
          <p:cNvSpPr txBox="1">
            <a:spLocks/>
          </p:cNvSpPr>
          <p:nvPr/>
        </p:nvSpPr>
        <p:spPr>
          <a:xfrm>
            <a:off x="228498" y="2922141"/>
            <a:ext cx="11108286" cy="460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400" dirty="0"/>
              <a:t>- Horizontal profiles of pressure gradient &amp; velocity near the top boundary</a:t>
            </a:r>
          </a:p>
        </p:txBody>
      </p:sp>
      <p:sp>
        <p:nvSpPr>
          <p:cNvPr id="36" name="Action Button: Forward or Next 35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A6734358-18EF-EFC7-425A-0232B242CAE0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7" name="Action Button: Back or Previous 36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52BE1E71-5D29-9FE7-7AE6-3DF70BFE5D62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8" name="Graphic 37">
            <a:hlinkClick r:id="rId7" action="ppaction://hlinksldjump"/>
            <a:extLst>
              <a:ext uri="{FF2B5EF4-FFF2-40B4-BE49-F238E27FC236}">
                <a16:creationId xmlns:a16="http://schemas.microsoft.com/office/drawing/2014/main" id="{5A9EC295-5F35-AE34-F67A-A16BD48552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35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7AF8C92-D2A5-F9E9-5803-AAC322D6D5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18894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FE22A1-56F7-4FF9-8A90-D307E6733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94" y="146481"/>
            <a:ext cx="10728325" cy="900000"/>
          </a:xfrm>
        </p:spPr>
        <p:txBody>
          <a:bodyPr vert="horz"/>
          <a:lstStyle/>
          <a:p>
            <a:r>
              <a:rPr lang="en-GB" sz="3200" dirty="0"/>
              <a:t>Coupled atmosphere-magma ocean models</a:t>
            </a:r>
            <a:endParaRPr lang="en-GB" sz="3200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DB7874-B99C-4F6D-A86D-EA0EE8CA0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8B327-839C-4A2D-B2E8-7E49B2F41E4B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3</a:t>
            </a:fld>
            <a:endParaRPr lang="de-CH" noProof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C5071D2-4A23-2862-15E2-C5912ECF3664}"/>
              </a:ext>
            </a:extLst>
          </p:cNvPr>
          <p:cNvSpPr txBox="1"/>
          <p:nvPr/>
        </p:nvSpPr>
        <p:spPr>
          <a:xfrm>
            <a:off x="1438223" y="5925372"/>
            <a:ext cx="6122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From (Lichtenberg </a:t>
            </a:r>
            <a:r>
              <a:rPr lang="en-GB" dirty="0" err="1"/>
              <a:t>et.al</a:t>
            </a:r>
            <a:r>
              <a:rPr lang="en-GB" dirty="0"/>
              <a:t>, 2026, arXiv:2511.16142)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226802A-81DE-8217-5BCE-077E207638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95794"/>
            <a:ext cx="8998951" cy="5229578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2E988EBE-3400-957B-4825-E1F23DC5E186}"/>
              </a:ext>
            </a:extLst>
          </p:cNvPr>
          <p:cNvSpPr/>
          <p:nvPr/>
        </p:nvSpPr>
        <p:spPr>
          <a:xfrm>
            <a:off x="8945063" y="1309630"/>
            <a:ext cx="3091542" cy="9144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tmospheric model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67D773A-853D-6B7E-BB6A-E5EA78D3CD04}"/>
              </a:ext>
            </a:extLst>
          </p:cNvPr>
          <p:cNvSpPr/>
          <p:nvPr/>
        </p:nvSpPr>
        <p:spPr>
          <a:xfrm>
            <a:off x="8945063" y="4057075"/>
            <a:ext cx="3091542" cy="914400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Magma ocean mode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D04AE6-F84B-38A1-3562-43C2783F11F0}"/>
              </a:ext>
            </a:extLst>
          </p:cNvPr>
          <p:cNvSpPr/>
          <p:nvPr/>
        </p:nvSpPr>
        <p:spPr>
          <a:xfrm>
            <a:off x="9444913" y="2665035"/>
            <a:ext cx="2087066" cy="76396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Chemical Equilibrium</a:t>
            </a:r>
          </a:p>
        </p:txBody>
      </p:sp>
      <p:sp>
        <p:nvSpPr>
          <p:cNvPr id="32" name="Down Arrow 31">
            <a:extLst>
              <a:ext uri="{FF2B5EF4-FFF2-40B4-BE49-F238E27FC236}">
                <a16:creationId xmlns:a16="http://schemas.microsoft.com/office/drawing/2014/main" id="{E059DC33-7176-A135-0224-5CE8EBAD8CD1}"/>
              </a:ext>
            </a:extLst>
          </p:cNvPr>
          <p:cNvSpPr/>
          <p:nvPr/>
        </p:nvSpPr>
        <p:spPr>
          <a:xfrm>
            <a:off x="9026104" y="1793900"/>
            <a:ext cx="418809" cy="2743199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Down Arrow 34">
            <a:extLst>
              <a:ext uri="{FF2B5EF4-FFF2-40B4-BE49-F238E27FC236}">
                <a16:creationId xmlns:a16="http://schemas.microsoft.com/office/drawing/2014/main" id="{A10FDF1F-A8A7-FF92-72E3-086A74144A0F}"/>
              </a:ext>
            </a:extLst>
          </p:cNvPr>
          <p:cNvSpPr/>
          <p:nvPr/>
        </p:nvSpPr>
        <p:spPr>
          <a:xfrm rot="10800000">
            <a:off x="11559131" y="1766830"/>
            <a:ext cx="418809" cy="2743199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3" name="Picture 42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D1D4625D-9FDB-3809-883C-AADAF2F434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sp>
        <p:nvSpPr>
          <p:cNvPr id="44" name="Action Button: Forward or Next 43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4D163A9E-8217-2D45-C605-47CBAFF4B83F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5" name="Action Button: Back or Previous 44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76CAE303-3EC2-1C53-BA92-E43424978A97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6" name="Graphic 45">
            <a:hlinkClick r:id="rId8" action="ppaction://hlinksldjump"/>
            <a:extLst>
              <a:ext uri="{FF2B5EF4-FFF2-40B4-BE49-F238E27FC236}">
                <a16:creationId xmlns:a16="http://schemas.microsoft.com/office/drawing/2014/main" id="{56B030F9-4215-9818-6731-FEDF1BE6DE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112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DEE4AA-CE31-4CEE-2E3B-659019543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2236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43B63-06C8-C44A-45EF-1777E6594F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7" y="83306"/>
            <a:ext cx="10728325" cy="900000"/>
          </a:xfrm>
        </p:spPr>
        <p:txBody>
          <a:bodyPr vert="horz"/>
          <a:lstStyle/>
          <a:p>
            <a:r>
              <a:rPr lang="en-GB" sz="3200" dirty="0"/>
              <a:t>Recent challenges to the “chemical equilibrium” assump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77160D-758F-614D-FA67-B7321A1E7F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162FC-E8FF-4D52-8F53-8F2A2A3AD3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7A6EC1-8352-CC6A-3AB8-28CD56729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4</a:t>
            </a:fld>
            <a:endParaRPr lang="de-CH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1499096-347D-26AE-C401-76BB71CBB3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46813" y="471509"/>
            <a:ext cx="7772400" cy="29574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C92ED65-956E-74E4-4B3D-2BCCFC1887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27836" y="3428999"/>
            <a:ext cx="7772400" cy="2821329"/>
          </a:xfrm>
          <a:prstGeom prst="rect">
            <a:avLst/>
          </a:prstGeom>
        </p:spPr>
      </p:pic>
      <p:pic>
        <p:nvPicPr>
          <p:cNvPr id="21" name="Picture 20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22897905-8D40-BAD4-F451-067E32020B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sp>
        <p:nvSpPr>
          <p:cNvPr id="22" name="Action Button: Forward or Next 21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A2E8FC85-1477-6FD8-8B19-188058D8C98E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Action Button: Back or Previous 22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E0EA2EB5-145E-91CC-EE39-7BF3267C5718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4" name="Graphic 23">
            <a:hlinkClick r:id="rId9" action="ppaction://hlinksldjump"/>
            <a:extLst>
              <a:ext uri="{FF2B5EF4-FFF2-40B4-BE49-F238E27FC236}">
                <a16:creationId xmlns:a16="http://schemas.microsoft.com/office/drawing/2014/main" id="{4EAE7C44-B75C-39A2-362C-5C5313A75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367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C4E7BC-CF66-E2B0-4C76-A1775E652D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62449D4-689D-FC59-4CD7-D423D6F618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2053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D6BD05-2661-7442-8825-29501D9888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57AF30-706E-2CA4-75C1-6BF97AD93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3" y="83306"/>
            <a:ext cx="10728325" cy="900000"/>
          </a:xfrm>
        </p:spPr>
        <p:txBody>
          <a:bodyPr vert="horz"/>
          <a:lstStyle/>
          <a:p>
            <a:r>
              <a:rPr lang="en-GB" sz="3200" dirty="0"/>
              <a:t>Main 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A3CAC-1A1D-84E1-61BF-1FE302BD0F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0716" y="1355657"/>
            <a:ext cx="7470194" cy="4680000"/>
          </a:xfrm>
        </p:spPr>
        <p:txBody>
          <a:bodyPr/>
          <a:lstStyle/>
          <a:p>
            <a:r>
              <a:rPr lang="en-GB" sz="2400" dirty="0"/>
              <a:t>Two distinct types of dynamics in the flow:</a:t>
            </a:r>
          </a:p>
          <a:p>
            <a:pPr lvl="1"/>
            <a:r>
              <a:rPr lang="en-GB" sz="2400" dirty="0"/>
              <a:t>Bulk transport: </a:t>
            </a:r>
            <a:r>
              <a:rPr lang="en-GB" sz="2400" b="1" u="sng" dirty="0"/>
              <a:t>Fast</a:t>
            </a:r>
          </a:p>
          <a:p>
            <a:pPr lvl="1"/>
            <a:r>
              <a:rPr lang="en-GB" sz="2400" dirty="0"/>
              <a:t>Boundary layer transport: </a:t>
            </a:r>
            <a:r>
              <a:rPr lang="en-GB" sz="2400" b="1" u="sng" dirty="0"/>
              <a:t>Slow</a:t>
            </a:r>
          </a:p>
          <a:p>
            <a:pPr lvl="1"/>
            <a:r>
              <a:rPr lang="en-GB" sz="2400" dirty="0"/>
              <a:t>BUT BL will break down in reality =&gt; overall </a:t>
            </a:r>
            <a:r>
              <a:rPr lang="en-GB" sz="2400" b="1" u="sng" dirty="0"/>
              <a:t>Fast</a:t>
            </a:r>
          </a:p>
          <a:p>
            <a:r>
              <a:rPr lang="en-GB" sz="2400" dirty="0">
                <a:solidFill>
                  <a:srgbClr val="00B050"/>
                </a:solidFill>
              </a:rPr>
              <a:t>=&gt; Chemical equilibrium is a decent assumption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C08E9-5AC2-E03E-01A4-0CF98D5313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162FC-E8FF-4D52-8F53-8F2A2A3AD3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889A01-15F8-99E7-F866-6D0E3036C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5</a:t>
            </a:fld>
            <a:endParaRPr lang="de-CH" noProof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36BA9B-F505-9336-5BE1-31D202BC7116}"/>
              </a:ext>
            </a:extLst>
          </p:cNvPr>
          <p:cNvSpPr txBox="1"/>
          <p:nvPr/>
        </p:nvSpPr>
        <p:spPr>
          <a:xfrm>
            <a:off x="9198591" y="5564953"/>
            <a:ext cx="28484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From Lohse (2024, RMP)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1E8E9A99-D968-2392-EC46-A1A93BC6B2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90910" y="1250731"/>
            <a:ext cx="4501090" cy="4314222"/>
          </a:xfrm>
          <a:prstGeom prst="rect">
            <a:avLst/>
          </a:prstGeom>
        </p:spPr>
      </p:pic>
      <p:pic>
        <p:nvPicPr>
          <p:cNvPr id="15" name="Picture 14" descr="A yellow and blue sign with a camera&#10;&#10;AI-generated content may be incorrect.">
            <a:extLst>
              <a:ext uri="{FF2B5EF4-FFF2-40B4-BE49-F238E27FC236}">
                <a16:creationId xmlns:a16="http://schemas.microsoft.com/office/drawing/2014/main" id="{27697E85-E339-C082-827F-58AABD6654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244" y="0"/>
            <a:ext cx="817756" cy="1144859"/>
          </a:xfrm>
          <a:prstGeom prst="rect">
            <a:avLst/>
          </a:prstGeom>
        </p:spPr>
      </p:pic>
      <p:sp>
        <p:nvSpPr>
          <p:cNvPr id="21" name="Action Button: Forward or Next 20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7676A67C-0BBA-E6EF-93A7-CA7ED75301B5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Action Button: Back or Previous 21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C87080D7-5268-FAD3-0514-04072606CBA9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hlinkClick r:id="rId8" action="ppaction://hlinksldjump"/>
            <a:extLst>
              <a:ext uri="{FF2B5EF4-FFF2-40B4-BE49-F238E27FC236}">
                <a16:creationId xmlns:a16="http://schemas.microsoft.com/office/drawing/2014/main" id="{03E9F2B8-F6BD-F229-6E2E-D17B17DD04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02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D23D4F-6E53-14C4-8D50-D1A987B39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A84262-C416-D75E-6CAF-D8C7703B83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7727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567BE3-A5BE-3421-32AC-F50ED8298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platzhalter 18" descr="Ein Bild, das Gebäude, Stadt, Schloss, Turm enthält.&#10;&#10;Automatisch generierte Beschreibung">
            <a:extLst>
              <a:ext uri="{FF2B5EF4-FFF2-40B4-BE49-F238E27FC236}">
                <a16:creationId xmlns:a16="http://schemas.microsoft.com/office/drawing/2014/main" id="{40355121-8587-6BF7-7581-BA4E66F50A6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1" b="461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6FC63452-A6BF-5247-2CC5-C4EA0A3F19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988000"/>
            <a:ext cx="8752114" cy="3287385"/>
          </a:xfr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/>
          <a:lstStyle/>
          <a:p>
            <a:r>
              <a:rPr lang="en-US" dirty="0"/>
              <a:t>Efficient volatile exchange between atmosphere and magma ocean</a:t>
            </a:r>
            <a:br>
              <a:rPr lang="en-US" dirty="0"/>
            </a:b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1AECC92-851A-02F0-3210-C2C7F1D9AC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8563" y="3643999"/>
            <a:ext cx="7352052" cy="1862497"/>
          </a:xfrm>
        </p:spPr>
        <p:txBody>
          <a:bodyPr/>
          <a:lstStyle/>
          <a:p>
            <a:r>
              <a:rPr lang="en-GB" sz="2400" b="1" dirty="0" err="1"/>
              <a:t>Xuecheng</a:t>
            </a:r>
            <a:r>
              <a:rPr lang="en-GB" sz="2400" b="1" dirty="0"/>
              <a:t> Yang</a:t>
            </a:r>
            <a:r>
              <a:rPr lang="en-GB" sz="2400" b="1" baseline="30000" dirty="0"/>
              <a:t>1*</a:t>
            </a:r>
            <a:r>
              <a:rPr lang="en-GB" sz="2400" b="1" dirty="0"/>
              <a:t>, Cédric Gillmann</a:t>
            </a:r>
            <a:r>
              <a:rPr lang="en-GB" sz="2400" b="1" baseline="30000" dirty="0"/>
              <a:t>1</a:t>
            </a:r>
            <a:r>
              <a:rPr lang="en-GB" sz="2400" b="1" dirty="0"/>
              <a:t>, Paul Tackley</a:t>
            </a:r>
            <a:r>
              <a:rPr lang="en-GB" sz="2400" b="1" baseline="30000" dirty="0"/>
              <a:t>1</a:t>
            </a:r>
          </a:p>
          <a:p>
            <a:r>
              <a:rPr lang="en-GB" sz="2000" baseline="30000" dirty="0"/>
              <a:t>1</a:t>
            </a:r>
            <a:r>
              <a:rPr lang="en-GB" sz="2000" dirty="0"/>
              <a:t> Institute of Geophysics, ETH Zürich</a:t>
            </a:r>
          </a:p>
          <a:p>
            <a:r>
              <a:rPr lang="en-GB" sz="2000" b="1" dirty="0"/>
              <a:t>* </a:t>
            </a:r>
            <a:r>
              <a:rPr lang="en-GB" sz="2000" b="1" dirty="0" err="1"/>
              <a:t>xuecheng.yang@eaps.ethz.ch</a:t>
            </a:r>
            <a:br>
              <a:rPr lang="en-GB" sz="2000" b="1" dirty="0"/>
            </a:br>
            <a:br>
              <a:rPr lang="en-GB" sz="2000" b="1" dirty="0"/>
            </a:br>
            <a:r>
              <a:rPr lang="en-GB" sz="1600" b="1" dirty="0"/>
              <a:t>EGU 2026</a:t>
            </a:r>
          </a:p>
          <a:p>
            <a:endParaRPr lang="en-GB" sz="2000" b="1" dirty="0"/>
          </a:p>
        </p:txBody>
      </p:sp>
      <p:sp>
        <p:nvSpPr>
          <p:cNvPr id="9" name="Action Button: Forward or Next 8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84205FBC-D9BB-9155-0086-3F6F66A62454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Action Button: Back or Previous 9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2D5BE9B7-A34E-A3A3-964E-596B2D6FFAC4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hlinkClick r:id="rId7" action="ppaction://hlinksldjump"/>
            <a:extLst>
              <a:ext uri="{FF2B5EF4-FFF2-40B4-BE49-F238E27FC236}">
                <a16:creationId xmlns:a16="http://schemas.microsoft.com/office/drawing/2014/main" id="{D6CAB59F-6B0F-5858-03FF-C6195A19E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  <p:pic>
        <p:nvPicPr>
          <p:cNvPr id="12" name="Picture 11" descr="A blue sign with yellow text&#10;&#10;AI-generated content may be incorrect.">
            <a:extLst>
              <a:ext uri="{FF2B5EF4-FFF2-40B4-BE49-F238E27FC236}">
                <a16:creationId xmlns:a16="http://schemas.microsoft.com/office/drawing/2014/main" id="{E0B7BD2B-8BC4-260C-E2B7-410D1655143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8482" y="0"/>
            <a:ext cx="870023" cy="1158240"/>
          </a:xfrm>
          <a:prstGeom prst="rect">
            <a:avLst/>
          </a:prstGeom>
        </p:spPr>
      </p:pic>
      <p:pic>
        <p:nvPicPr>
          <p:cNvPr id="13" name="Picture 12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7BC26552-ADD5-38BE-94A3-18D98AEBD24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4162" y="0"/>
            <a:ext cx="1016000" cy="101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33DF65-DB8E-5B69-8250-D056B4ADAA0E}"/>
              </a:ext>
            </a:extLst>
          </p:cNvPr>
          <p:cNvSpPr txBox="1">
            <a:spLocks/>
          </p:cNvSpPr>
          <p:nvPr/>
        </p:nvSpPr>
        <p:spPr>
          <a:xfrm>
            <a:off x="2015563" y="810147"/>
            <a:ext cx="7797535" cy="10827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080000" tIns="252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Welcome to PICO Spot </a:t>
            </a:r>
            <a:r>
              <a:rPr lang="en-GB" b="1" u="sng" dirty="0"/>
              <a:t>3.4</a:t>
            </a:r>
            <a:r>
              <a:rPr lang="en-GB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5131049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9D36BD-DD59-02EE-69FD-A84CB4778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3DC3FF0-1D4F-3A0F-51E8-CCE4624773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6245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8555B6-3018-757B-C2C5-042E010D9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ABEC09-D594-6A36-CF5A-84C0FB2DB7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2" y="0"/>
            <a:ext cx="10728325" cy="900000"/>
          </a:xfrm>
        </p:spPr>
        <p:txBody>
          <a:bodyPr vert="horz"/>
          <a:lstStyle/>
          <a:p>
            <a:r>
              <a:rPr lang="en-GB" sz="3200" dirty="0"/>
              <a:t>Hint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A93930-8AED-1F2F-60C8-412E5EAB37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6159C8-FACC-9892-2E8F-28127A259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7</a:t>
            </a:fld>
            <a:endParaRPr lang="de-CH" noProof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0C3C5ED8-14C2-AF75-BDF4-D0FD4BEDFBB3}"/>
                  </a:ext>
                </a:extLst>
              </p14:cNvPr>
              <p14:cNvContentPartPr/>
              <p14:nvPr/>
            </p14:nvContentPartPr>
            <p14:xfrm>
              <a:off x="7790576" y="3526288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6FBE1E69-B3EE-C18C-FA9E-85B35830A8AD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781576" y="3517648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24" name="Action Button: Forward or Next 23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03A2A507-BC3E-C9E5-F34F-39EA268C5F5A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Action Button: Back or Previous 24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CB10A270-CDE1-1BDE-C3D9-33CB78B0139B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0" name="Graphic 29">
            <a:hlinkClick r:id="rId9" action="ppaction://hlinksldjump"/>
            <a:extLst>
              <a:ext uri="{FF2B5EF4-FFF2-40B4-BE49-F238E27FC236}">
                <a16:creationId xmlns:a16="http://schemas.microsoft.com/office/drawing/2014/main" id="{AA2FCE5A-F8AF-6868-77EF-E69AEEF52E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C319DBC-D277-BBA9-BF79-11C25102F3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1829" y="760239"/>
            <a:ext cx="11979289" cy="899280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/>
              <a:t>We recommend starting with our abstracts to provide context for the following slides</a:t>
            </a:r>
          </a:p>
        </p:txBody>
      </p:sp>
      <p:pic>
        <p:nvPicPr>
          <p:cNvPr id="7" name="Picture 6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ACAA1B00-2A1F-1E55-BFC0-8EEFFFEFF57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6570" y="1393371"/>
            <a:ext cx="4585791" cy="4585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0428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7F947FF-68CF-52F1-C8AE-BCFD40F2C1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1336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42B1EF-4BCB-1DFC-DFE2-3D3B26640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973" y="83306"/>
            <a:ext cx="10728325" cy="900000"/>
          </a:xfrm>
        </p:spPr>
        <p:txBody>
          <a:bodyPr vert="horz"/>
          <a:lstStyle/>
          <a:p>
            <a:r>
              <a:rPr lang="en-GB" sz="3200" dirty="0"/>
              <a:t>Table of Cont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5D4B6E-B023-058D-2EDD-792F5D4EB9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0410" y="933051"/>
            <a:ext cx="11122579" cy="5933470"/>
          </a:xfrm>
        </p:spPr>
        <p:txBody>
          <a:bodyPr/>
          <a:lstStyle/>
          <a:p>
            <a:r>
              <a:rPr lang="en-GB" sz="2600" dirty="0">
                <a:hlinkClick r:id="" action="ppaction://hlinkshowjump?jump=firstslide"/>
              </a:rPr>
              <a:t>Two-minute summary: motivation &amp; main conclusion</a:t>
            </a:r>
            <a:endParaRPr lang="en-GB" sz="2600" dirty="0"/>
          </a:p>
          <a:p>
            <a:r>
              <a:rPr lang="en-GB" sz="2600" dirty="0">
                <a:hlinkClick r:id="rId5" action="ppaction://hlinksldjump"/>
              </a:rPr>
              <a:t>Volatile transport as a passive scalar diffusion process</a:t>
            </a:r>
            <a:endParaRPr lang="en-GB" sz="2600" dirty="0"/>
          </a:p>
          <a:p>
            <a:r>
              <a:rPr lang="en-GB" sz="2600" dirty="0">
                <a:hlinkClick r:id="rId6" action="ppaction://hlinksldjump"/>
              </a:rPr>
              <a:t>Salvador (2023) &amp; Walbecq (2025) models</a:t>
            </a:r>
            <a:endParaRPr lang="en-GB" sz="2600" dirty="0"/>
          </a:p>
          <a:p>
            <a:r>
              <a:rPr lang="en-GB" sz="2600" dirty="0">
                <a:hlinkClick r:id="rId7" action="ppaction://hlinksldjump"/>
              </a:rPr>
              <a:t>Theory for turbulent transport in the bulk and its implications</a:t>
            </a:r>
            <a:endParaRPr lang="en-GB" sz="2600" dirty="0"/>
          </a:p>
          <a:p>
            <a:r>
              <a:rPr lang="en-GB" sz="2600" dirty="0"/>
              <a:t>Numerical simulation</a:t>
            </a:r>
          </a:p>
          <a:p>
            <a:pPr lvl="1"/>
            <a:r>
              <a:rPr lang="en-GB" sz="2600" dirty="0">
                <a:hlinkClick r:id="rId8" action="ppaction://hlinksldjump"/>
              </a:rPr>
              <a:t>Setup</a:t>
            </a:r>
            <a:endParaRPr lang="en-GB" sz="2600" dirty="0"/>
          </a:p>
          <a:p>
            <a:pPr lvl="1"/>
            <a:r>
              <a:rPr lang="en-GB" sz="2600" dirty="0">
                <a:hlinkClick r:id="rId9" action="ppaction://hlinksldjump"/>
              </a:rPr>
              <a:t>Rapid turbulent mixing &amp; formation of a chemical boundary layer</a:t>
            </a:r>
            <a:endParaRPr lang="en-GB" sz="2600" dirty="0"/>
          </a:p>
          <a:p>
            <a:pPr lvl="1"/>
            <a:r>
              <a:rPr lang="en-GB" sz="2600" dirty="0">
                <a:hlinkClick r:id="rId10" action="ppaction://hlinksldjump"/>
              </a:rPr>
              <a:t>Boundary layers as the bottleneck</a:t>
            </a:r>
            <a:r>
              <a:rPr lang="en-GB" sz="2600" dirty="0"/>
              <a:t> </a:t>
            </a:r>
          </a:p>
          <a:p>
            <a:pPr lvl="1"/>
            <a:r>
              <a:rPr lang="en-GB" sz="2600" dirty="0">
                <a:hlinkClick r:id="rId11" action="ppaction://hlinksldjump"/>
              </a:rPr>
              <a:t>The lower bound for </a:t>
            </a:r>
            <a:r>
              <a:rPr lang="en-GB" sz="2600">
                <a:hlinkClick r:id="rId11" action="ppaction://hlinksldjump"/>
              </a:rPr>
              <a:t>chemical fluacross </a:t>
            </a:r>
            <a:r>
              <a:rPr lang="en-GB" sz="2600" dirty="0">
                <a:hlinkClick r:id="rId11" action="ppaction://hlinksldjump"/>
              </a:rPr>
              <a:t>the wall</a:t>
            </a:r>
            <a:endParaRPr lang="en-GB" sz="2600" dirty="0"/>
          </a:p>
          <a:p>
            <a:r>
              <a:rPr lang="en-GB" sz="2600" dirty="0">
                <a:hlinkClick r:id="rId12" action="ppaction://hlinksldjump"/>
              </a:rPr>
              <a:t>Boundary layers are not real bottlenecks in early magma ocean stage</a:t>
            </a:r>
            <a:endParaRPr lang="en-GB" sz="26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0EA53-2730-5F53-46D0-9956FFF24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F6C6C8-BD69-A1E4-3493-F5D96FC2E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8</a:t>
            </a:fld>
            <a:endParaRPr lang="de-CH" noProof="0"/>
          </a:p>
        </p:txBody>
      </p:sp>
      <p:sp>
        <p:nvSpPr>
          <p:cNvPr id="17" name="Action Button: Forward or Next 16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0D5ABE59-3E2E-482F-8718-F142B4982C6C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Action Button: Back or Previous 17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CDFC9F66-72DB-EFC8-1316-0F4684327649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hlinkClick r:id="rId13" action="ppaction://hlinksldjump"/>
            <a:extLst>
              <a:ext uri="{FF2B5EF4-FFF2-40B4-BE49-F238E27FC236}">
                <a16:creationId xmlns:a16="http://schemas.microsoft.com/office/drawing/2014/main" id="{5EB3FC78-AA02-9F70-E5B5-CAE647C23B3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  <p:pic>
        <p:nvPicPr>
          <p:cNvPr id="20" name="Picture 19" descr="A blue sign with yellow text&#10;&#10;AI-generated content may be incorrect.">
            <a:extLst>
              <a:ext uri="{FF2B5EF4-FFF2-40B4-BE49-F238E27FC236}">
                <a16:creationId xmlns:a16="http://schemas.microsoft.com/office/drawing/2014/main" id="{DF7C7B3B-51C0-90C9-081D-D5EF7CE5BB9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8482" y="0"/>
            <a:ext cx="870023" cy="1158240"/>
          </a:xfrm>
          <a:prstGeom prst="rect">
            <a:avLst/>
          </a:prstGeom>
        </p:spPr>
      </p:pic>
      <p:pic>
        <p:nvPicPr>
          <p:cNvPr id="21" name="Picture 20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823D6F7C-BFE6-AB8D-A28B-19E10352ACF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4162" y="0"/>
            <a:ext cx="101600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0630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68555B6-3018-757B-C2C5-042E010D9D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6012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B1B79E-6CE1-81F6-010D-490046C63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2" y="0"/>
            <a:ext cx="10728325" cy="900000"/>
          </a:xfrm>
        </p:spPr>
        <p:txBody>
          <a:bodyPr vert="horz"/>
          <a:lstStyle/>
          <a:p>
            <a:r>
              <a:rPr lang="en-GB" sz="3200" dirty="0"/>
              <a:t>Dynamics of volatile transport in MO</a:t>
            </a:r>
            <a:br>
              <a:rPr lang="en-GB" dirty="0"/>
            </a:br>
            <a:r>
              <a:rPr lang="en-GB" dirty="0"/>
              <a:t>Insights from dimensionless numbers for two-phase fluid motion</a:t>
            </a:r>
          </a:p>
        </p:txBody>
      </p:sp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A7B5AB5D-9B05-C332-6006-1C3263BCB3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0" y="1857805"/>
            <a:ext cx="12192000" cy="2167838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1C1689-30BA-20A4-DD8C-42777E86F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1D6AC-3BAC-4A50-9479-1E7CD895A648}" type="datetime1">
              <a:rPr lang="de-CH" noProof="0" smtClean="0"/>
              <a:t>04.05.26</a:t>
            </a:fld>
            <a:endParaRPr lang="de-CH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39D1F-8D35-BC08-5123-E2B3FAD98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9</a:t>
            </a:fld>
            <a:endParaRPr lang="de-CH" noProof="0"/>
          </a:p>
        </p:txBody>
      </p:sp>
      <p:pic>
        <p:nvPicPr>
          <p:cNvPr id="8" name="Content Placeholder 34" descr="A yellow sign with blue circle and a blue circle with a camera in the middle&#10;&#10;AI-generated content may be incorrect.">
            <a:extLst>
              <a:ext uri="{FF2B5EF4-FFF2-40B4-BE49-F238E27FC236}">
                <a16:creationId xmlns:a16="http://schemas.microsoft.com/office/drawing/2014/main" id="{0228B996-54DF-44ED-F51B-79F7B4BBF4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931" y="0"/>
            <a:ext cx="817069" cy="114225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6FBE1E69-B3EE-C18C-FA9E-85B35830A8AD}"/>
                  </a:ext>
                </a:extLst>
              </p14:cNvPr>
              <p14:cNvContentPartPr/>
              <p14:nvPr/>
            </p14:nvContentPartPr>
            <p14:xfrm>
              <a:off x="7790576" y="3526288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6FBE1E69-B3EE-C18C-FA9E-85B35830A8AD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781576" y="3517648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F69AAE84-7316-FE82-BF12-172E22222464}"/>
                  </a:ext>
                </a:extLst>
              </p14:cNvPr>
              <p14:cNvContentPartPr/>
              <p14:nvPr/>
            </p14:nvContentPartPr>
            <p14:xfrm>
              <a:off x="7271456" y="3286528"/>
              <a:ext cx="4482360" cy="55080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F69AAE84-7316-FE82-BF12-172E22222464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7262816" y="3277888"/>
                <a:ext cx="4500000" cy="568440"/>
              </a:xfrm>
              <a:prstGeom prst="rect">
                <a:avLst/>
              </a:prstGeom>
            </p:spPr>
          </p:pic>
        </mc:Fallback>
      </mc:AlternateContent>
      <p:sp>
        <p:nvSpPr>
          <p:cNvPr id="24" name="Action Button: Forward or Next 23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EFF7244D-EF2F-D3DF-6339-35733C664EBC}"/>
              </a:ext>
            </a:extLst>
          </p:cNvPr>
          <p:cNvSpPr>
            <a:spLocks noChangeAspect="1"/>
          </p:cNvSpPr>
          <p:nvPr/>
        </p:nvSpPr>
        <p:spPr>
          <a:xfrm>
            <a:off x="6466472" y="6289041"/>
            <a:ext cx="548640" cy="548640"/>
          </a:xfrm>
          <a:prstGeom prst="actionButtonForwardNex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Action Button: Back or Previous 24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FA689F8C-07DD-331E-34F2-5A1BEF107E23}"/>
              </a:ext>
            </a:extLst>
          </p:cNvPr>
          <p:cNvSpPr/>
          <p:nvPr/>
        </p:nvSpPr>
        <p:spPr>
          <a:xfrm>
            <a:off x="4815840" y="6289041"/>
            <a:ext cx="548640" cy="548640"/>
          </a:xfrm>
          <a:prstGeom prst="actionButtonBackPrevious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0" name="Graphic 29">
            <a:hlinkClick r:id="rId12" action="ppaction://hlinksldjump"/>
            <a:extLst>
              <a:ext uri="{FF2B5EF4-FFF2-40B4-BE49-F238E27FC236}">
                <a16:creationId xmlns:a16="http://schemas.microsoft.com/office/drawing/2014/main" id="{CB3A7061-DFCC-CEF7-3139-5F3FB67B97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577839" y="6185951"/>
            <a:ext cx="672985" cy="6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046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TH Zürich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15CAF"/>
      </a:accent1>
      <a:accent2>
        <a:srgbClr val="007894"/>
      </a:accent2>
      <a:accent3>
        <a:srgbClr val="627313"/>
      </a:accent3>
      <a:accent4>
        <a:srgbClr val="8E6713"/>
      </a:accent4>
      <a:accent5>
        <a:srgbClr val="B7352D"/>
      </a:accent5>
      <a:accent6>
        <a:srgbClr val="A30774"/>
      </a:accent6>
      <a:hlink>
        <a:srgbClr val="000000"/>
      </a:hlink>
      <a:folHlink>
        <a:srgbClr val="000000"/>
      </a:folHlink>
    </a:clrScheme>
    <a:fontScheme name="ETH Züri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ETH Blau">
      <a:srgbClr val="215CAF"/>
    </a:custClr>
    <a:custClr name="ETH Petrol">
      <a:srgbClr val="007894"/>
    </a:custClr>
    <a:custClr name="ETH Gruen">
      <a:srgbClr val="627313"/>
    </a:custClr>
    <a:custClr name="ETH Bronze">
      <a:srgbClr val="8E6713"/>
    </a:custClr>
    <a:custClr name="ETH Rot">
      <a:srgbClr val="B7352D"/>
    </a:custClr>
    <a:custClr name="ETH Purpur">
      <a:srgbClr val="A30774"/>
    </a:custClr>
    <a:custClr name="ETH Grau">
      <a:srgbClr val="6F6F6F"/>
    </a:custClr>
  </a:custClrLst>
  <a:extLst>
    <a:ext uri="{05A4C25C-085E-4340-85A3-A5531E510DB2}">
      <thm15:themeFamily xmlns:thm15="http://schemas.microsoft.com/office/thememl/2012/main" name="ETHz_ppt_template" id="{BFBF968A-025B-3041-B3C7-3C19ADC14913}" vid="{0ADC2774-6683-E04A-9175-1C80D57106CF}"/>
    </a:ext>
  </a:extLst>
</a:theme>
</file>

<file path=ppt/theme/theme2.xml><?xml version="1.0" encoding="utf-8"?>
<a:theme xmlns:a="http://schemas.openxmlformats.org/drawingml/2006/main" name="Office">
  <a:themeElements>
    <a:clrScheme name="ETH Züric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15CAF"/>
      </a:accent1>
      <a:accent2>
        <a:srgbClr val="007894"/>
      </a:accent2>
      <a:accent3>
        <a:srgbClr val="627313"/>
      </a:accent3>
      <a:accent4>
        <a:srgbClr val="8E6713"/>
      </a:accent4>
      <a:accent5>
        <a:srgbClr val="B7352D"/>
      </a:accent5>
      <a:accent6>
        <a:srgbClr val="A30774"/>
      </a:accent6>
      <a:hlink>
        <a:srgbClr val="0563C1"/>
      </a:hlink>
      <a:folHlink>
        <a:srgbClr val="954F72"/>
      </a:folHlink>
    </a:clrScheme>
    <a:fontScheme name="ETH Züri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ETH Blau">
      <a:srgbClr val="215CAF"/>
    </a:custClr>
    <a:custClr name="ETH Petrol">
      <a:srgbClr val="007894"/>
    </a:custClr>
    <a:custClr name="ETH Gruen">
      <a:srgbClr val="627313"/>
    </a:custClr>
    <a:custClr name="ETH Bronze">
      <a:srgbClr val="8E6713"/>
    </a:custClr>
    <a:custClr name="ETH Rot">
      <a:srgbClr val="B7352D"/>
    </a:custClr>
    <a:custClr name="ETH Purpur">
      <a:srgbClr val="A30774"/>
    </a:custClr>
    <a:custClr name="ETH Grau">
      <a:srgbClr val="6F6F6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TH Züric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15CAF"/>
      </a:accent1>
      <a:accent2>
        <a:srgbClr val="007894"/>
      </a:accent2>
      <a:accent3>
        <a:srgbClr val="627313"/>
      </a:accent3>
      <a:accent4>
        <a:srgbClr val="8E6713"/>
      </a:accent4>
      <a:accent5>
        <a:srgbClr val="B7352D"/>
      </a:accent5>
      <a:accent6>
        <a:srgbClr val="A30774"/>
      </a:accent6>
      <a:hlink>
        <a:srgbClr val="0563C1"/>
      </a:hlink>
      <a:folHlink>
        <a:srgbClr val="954F72"/>
      </a:folHlink>
    </a:clrScheme>
    <a:fontScheme name="ETH Züri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TH Zürich</Template>
  <TotalTime>10392</TotalTime>
  <Words>1023</Words>
  <Application>Microsoft Macintosh PowerPoint</Application>
  <PresentationFormat>Widescreen</PresentationFormat>
  <Paragraphs>174</Paragraphs>
  <Slides>29</Slides>
  <Notes>10</Notes>
  <HiddenSlides>0</HiddenSlides>
  <MMClips>3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5" baseType="lpstr">
      <vt:lpstr>Arial</vt:lpstr>
      <vt:lpstr>Cambria Math</vt:lpstr>
      <vt:lpstr>Courier New</vt:lpstr>
      <vt:lpstr>Symbol</vt:lpstr>
      <vt:lpstr>ETH Zürich</vt:lpstr>
      <vt:lpstr>think-cell Slide</vt:lpstr>
      <vt:lpstr>Efficient volatile exchange between atmosphere and magma ocean </vt:lpstr>
      <vt:lpstr>Coupled atmosphere-magma ocean models</vt:lpstr>
      <vt:lpstr>Coupled atmosphere-magma ocean models</vt:lpstr>
      <vt:lpstr>Recent challenges to the “chemical equilibrium” assumption</vt:lpstr>
      <vt:lpstr>Main conclusions</vt:lpstr>
      <vt:lpstr>Efficient volatile exchange between atmosphere and magma ocean </vt:lpstr>
      <vt:lpstr>Hint</vt:lpstr>
      <vt:lpstr>Table of Contents</vt:lpstr>
      <vt:lpstr>Dynamics of volatile transport in MO Insights from dimensionless numbers for two-phase fluid motion</vt:lpstr>
      <vt:lpstr>Salvador (2023) &amp; Walbecq (2025) models </vt:lpstr>
      <vt:lpstr>Salvador (2023, Icarus) &amp; Walbecq (2025, Icarus) models </vt:lpstr>
      <vt:lpstr>Problems with W25 empirical models:  (Non-)Constant pre-factor</vt:lpstr>
      <vt:lpstr>Problems with W25 empirical models:  Limited valid range for exsolution depth</vt:lpstr>
      <vt:lpstr>Theory for turbulent transport in the bulk and its implications </vt:lpstr>
      <vt:lpstr>Theory for turbulent transport of a passive scalar</vt:lpstr>
      <vt:lpstr>PowerPoint Presentation</vt:lpstr>
      <vt:lpstr>PowerPoint Presentation</vt:lpstr>
      <vt:lpstr>Theoretical implications</vt:lpstr>
      <vt:lpstr>Numerical simulation</vt:lpstr>
      <vt:lpstr>Model setup</vt:lpstr>
      <vt:lpstr>Evolution of vertical scalar profile</vt:lpstr>
      <vt:lpstr>Bulk vs boundary layer transport</vt:lpstr>
      <vt:lpstr>Chemical flux across a no-slip boundary (preliminary!)</vt:lpstr>
      <vt:lpstr>Boundary layers are not real bottlenecks I Breakdown of “passive particles” approximation</vt:lpstr>
      <vt:lpstr>Boundary layers are not real bottlenecks II Transition to turbulent BL</vt:lpstr>
      <vt:lpstr>Boundary layers are not real bottlenecks III Wall vs. free surface</vt:lpstr>
      <vt:lpstr>Bonus slides</vt:lpstr>
      <vt:lpstr>Videos</vt:lpstr>
      <vt:lpstr>Non-zero pressure gradi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ficient volatile exchange between atmosphere and magma ocean </dc:title>
  <dc:creator>Y XC</dc:creator>
  <cp:lastModifiedBy>Sam Zhang</cp:lastModifiedBy>
  <cp:revision>386</cp:revision>
  <dcterms:created xsi:type="dcterms:W3CDTF">2026-04-21T11:47:58Z</dcterms:created>
  <dcterms:modified xsi:type="dcterms:W3CDTF">2026-05-04T20:54:30Z</dcterms:modified>
</cp:coreProperties>
</file>